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media/image28.jpg" ContentType="image/jpeg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notesSlides/notesSlide3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4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media/image62.jpg" ContentType="image/jpeg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77" r:id="rId5"/>
    <p:sldMasterId id="2147483841" r:id="rId6"/>
  </p:sldMasterIdLst>
  <p:notesMasterIdLst>
    <p:notesMasterId r:id="rId35"/>
  </p:notesMasterIdLst>
  <p:handoutMasterIdLst>
    <p:handoutMasterId r:id="rId36"/>
  </p:handoutMasterIdLst>
  <p:sldIdLst>
    <p:sldId id="2729" r:id="rId7"/>
    <p:sldId id="2732" r:id="rId8"/>
    <p:sldId id="2718" r:id="rId9"/>
    <p:sldId id="2708" r:id="rId10"/>
    <p:sldId id="3092" r:id="rId11"/>
    <p:sldId id="3204" r:id="rId12"/>
    <p:sldId id="3200" r:id="rId13"/>
    <p:sldId id="3112" r:id="rId14"/>
    <p:sldId id="3114" r:id="rId15"/>
    <p:sldId id="3143" r:id="rId16"/>
    <p:sldId id="3115" r:id="rId17"/>
    <p:sldId id="3116" r:id="rId18"/>
    <p:sldId id="3117" r:id="rId19"/>
    <p:sldId id="3160" r:id="rId20"/>
    <p:sldId id="3146" r:id="rId21"/>
    <p:sldId id="2693" r:id="rId22"/>
    <p:sldId id="2727" r:id="rId23"/>
    <p:sldId id="3129" r:id="rId24"/>
    <p:sldId id="3212" r:id="rId25"/>
    <p:sldId id="3132" r:id="rId26"/>
    <p:sldId id="3211" r:id="rId27"/>
    <p:sldId id="3133" r:id="rId28"/>
    <p:sldId id="3134" r:id="rId29"/>
    <p:sldId id="3139" r:id="rId30"/>
    <p:sldId id="2716" r:id="rId31"/>
    <p:sldId id="3151" r:id="rId32"/>
    <p:sldId id="2514" r:id="rId33"/>
    <p:sldId id="2734" r:id="rId34"/>
  </p:sldIdLst>
  <p:sldSz cx="12192000" cy="6858000"/>
  <p:notesSz cx="6858000" cy="9144000"/>
  <p:custDataLst>
    <p:tags r:id="rId3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568" userDrawn="1">
          <p15:clr>
            <a:srgbClr val="A4A3A4"/>
          </p15:clr>
        </p15:guide>
        <p15:guide id="2" orient="horz" pos="218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dja Schäffer" initials="NS" lastIdx="1" clrIdx="0">
    <p:extLst>
      <p:ext uri="{19B8F6BF-5375-455C-9EA6-DF929625EA0E}">
        <p15:presenceInfo xmlns:p15="http://schemas.microsoft.com/office/powerpoint/2012/main" userId="Nadja Schäffer" providerId="None"/>
      </p:ext>
    </p:extLst>
  </p:cmAuthor>
  <p:cmAuthor id="2" name="Tromenschlager, Julien" initials="TJ" lastIdx="28" clrIdx="1">
    <p:extLst>
      <p:ext uri="{19B8F6BF-5375-455C-9EA6-DF929625EA0E}">
        <p15:presenceInfo xmlns:p15="http://schemas.microsoft.com/office/powerpoint/2012/main" userId="Tromenschlager, Julien" providerId="None"/>
      </p:ext>
    </p:extLst>
  </p:cmAuthor>
  <p:cmAuthor id="3" name="Lienemann, Philipp" initials="LP" lastIdx="45" clrIdx="2">
    <p:extLst>
      <p:ext uri="{19B8F6BF-5375-455C-9EA6-DF929625EA0E}">
        <p15:presenceInfo xmlns:p15="http://schemas.microsoft.com/office/powerpoint/2012/main" userId="Lienemann, Philipp" providerId="None"/>
      </p:ext>
    </p:extLst>
  </p:cmAuthor>
  <p:cmAuthor id="4" name="Villoslada Poole, Fernando" initials="VPF" lastIdx="2" clrIdx="3">
    <p:extLst>
      <p:ext uri="{19B8F6BF-5375-455C-9EA6-DF929625EA0E}">
        <p15:presenceInfo xmlns:p15="http://schemas.microsoft.com/office/powerpoint/2012/main" userId="S::fernando.villosladapoole@nobelbiocare.com::93770518-a6b3-4d6a-8b46-3ad348dea378" providerId="AD"/>
      </p:ext>
    </p:extLst>
  </p:cmAuthor>
  <p:cmAuthor id="5" name="Milleret, Vincent" initials="MV" lastIdx="1" clrIdx="3">
    <p:extLst>
      <p:ext uri="{19B8F6BF-5375-455C-9EA6-DF929625EA0E}">
        <p15:presenceInfo xmlns:p15="http://schemas.microsoft.com/office/powerpoint/2012/main" userId="S::vincent.milleret@nobelbiocare.com::c6eff0b6-8096-43cd-a24f-759689f3329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8D8F"/>
    <a:srgbClr val="FFFFFF"/>
    <a:srgbClr val="0091AB"/>
    <a:srgbClr val="D9AF59"/>
    <a:srgbClr val="C9A454"/>
    <a:srgbClr val="006E9A"/>
    <a:srgbClr val="629FB9"/>
    <a:srgbClr val="00527F"/>
    <a:srgbClr val="87C0C9"/>
    <a:srgbClr val="CC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EBD250-3DCE-4BFC-8BDC-3D52A8736A91}" v="21" dt="2020-05-26T08:28:53.3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00" autoAdjust="0"/>
    <p:restoredTop sz="91657" autoAdjust="0"/>
  </p:normalViewPr>
  <p:slideViewPr>
    <p:cSldViewPr snapToGrid="0">
      <p:cViewPr>
        <p:scale>
          <a:sx n="100" d="100"/>
          <a:sy n="100" d="100"/>
        </p:scale>
        <p:origin x="1116" y="180"/>
      </p:cViewPr>
      <p:guideLst>
        <p:guide pos="2568"/>
        <p:guide orient="horz" pos="218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Relationship Id="rId43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lleret, Vincent" userId="c6eff0b6-8096-43cd-a24f-759689f3329d" providerId="ADAL" clId="{5B32D9A4-E91F-4DB7-A3C1-A4048CCA5654}"/>
    <pc:docChg chg="modSld">
      <pc:chgData name="Milleret, Vincent" userId="c6eff0b6-8096-43cd-a24f-759689f3329d" providerId="ADAL" clId="{5B32D9A4-E91F-4DB7-A3C1-A4048CCA5654}" dt="2020-04-28T06:22:17.981" v="3" actId="20577"/>
      <pc:docMkLst>
        <pc:docMk/>
      </pc:docMkLst>
      <pc:sldChg chg="modSp">
        <pc:chgData name="Milleret, Vincent" userId="c6eff0b6-8096-43cd-a24f-759689f3329d" providerId="ADAL" clId="{5B32D9A4-E91F-4DB7-A3C1-A4048CCA5654}" dt="2020-04-28T06:22:17.981" v="3" actId="20577"/>
        <pc:sldMkLst>
          <pc:docMk/>
          <pc:sldMk cId="1480069257" sldId="2734"/>
        </pc:sldMkLst>
        <pc:spChg chg="mod">
          <ac:chgData name="Milleret, Vincent" userId="c6eff0b6-8096-43cd-a24f-759689f3329d" providerId="ADAL" clId="{5B32D9A4-E91F-4DB7-A3C1-A4048CCA5654}" dt="2020-04-28T06:22:17.981" v="3" actId="20577"/>
          <ac:spMkLst>
            <pc:docMk/>
            <pc:sldMk cId="1480069257" sldId="2734"/>
            <ac:spMk id="2" creationId="{2CAA6659-DF9F-477B-94B7-8002E3502FF7}"/>
          </ac:spMkLst>
        </pc:spChg>
      </pc:sldChg>
    </pc:docChg>
  </pc:docChgLst>
  <pc:docChgLst>
    <pc:chgData name="Milleret, Vincent" userId="c6eff0b6-8096-43cd-a24f-759689f3329d" providerId="ADAL" clId="{EFE5DC9E-B740-4F2B-A311-EF4CDCA68A84}"/>
    <pc:docChg chg="undo redo custSel delSld modSld">
      <pc:chgData name="Milleret, Vincent" userId="c6eff0b6-8096-43cd-a24f-759689f3329d" providerId="ADAL" clId="{EFE5DC9E-B740-4F2B-A311-EF4CDCA68A84}" dt="2020-04-27T10:23:33.769" v="215" actId="20577"/>
      <pc:docMkLst>
        <pc:docMk/>
      </pc:docMkLst>
      <pc:sldChg chg="modSp">
        <pc:chgData name="Milleret, Vincent" userId="c6eff0b6-8096-43cd-a24f-759689f3329d" providerId="ADAL" clId="{EFE5DC9E-B740-4F2B-A311-EF4CDCA68A84}" dt="2020-04-27T10:19:04.873" v="197" actId="790"/>
        <pc:sldMkLst>
          <pc:docMk/>
          <pc:sldMk cId="1895416313" sldId="2708"/>
        </pc:sldMkLst>
        <pc:spChg chg="mod">
          <ac:chgData name="Milleret, Vincent" userId="c6eff0b6-8096-43cd-a24f-759689f3329d" providerId="ADAL" clId="{EFE5DC9E-B740-4F2B-A311-EF4CDCA68A84}" dt="2020-04-27T10:19:04.873" v="197" actId="790"/>
          <ac:spMkLst>
            <pc:docMk/>
            <pc:sldMk cId="1895416313" sldId="2708"/>
            <ac:spMk id="22" creationId="{EA5D0ED4-24D8-4FC8-8110-3AB434CEF064}"/>
          </ac:spMkLst>
        </pc:spChg>
      </pc:sldChg>
      <pc:sldChg chg="addSp modSp">
        <pc:chgData name="Milleret, Vincent" userId="c6eff0b6-8096-43cd-a24f-759689f3329d" providerId="ADAL" clId="{EFE5DC9E-B740-4F2B-A311-EF4CDCA68A84}" dt="2020-04-27T10:20:33.272" v="202" actId="6549"/>
        <pc:sldMkLst>
          <pc:docMk/>
          <pc:sldMk cId="1074571212" sldId="2716"/>
        </pc:sldMkLst>
        <pc:spChg chg="mod">
          <ac:chgData name="Milleret, Vincent" userId="c6eff0b6-8096-43cd-a24f-759689f3329d" providerId="ADAL" clId="{EFE5DC9E-B740-4F2B-A311-EF4CDCA68A84}" dt="2020-04-27T10:20:33.272" v="202" actId="6549"/>
          <ac:spMkLst>
            <pc:docMk/>
            <pc:sldMk cId="1074571212" sldId="2716"/>
            <ac:spMk id="2" creationId="{1DCBC45B-43F9-44ED-9407-4FEB06291DDF}"/>
          </ac:spMkLst>
        </pc:spChg>
        <pc:spChg chg="add mod">
          <ac:chgData name="Milleret, Vincent" userId="c6eff0b6-8096-43cd-a24f-759689f3329d" providerId="ADAL" clId="{EFE5DC9E-B740-4F2B-A311-EF4CDCA68A84}" dt="2020-04-27T10:17:55.822" v="191" actId="20577"/>
          <ac:spMkLst>
            <pc:docMk/>
            <pc:sldMk cId="1074571212" sldId="2716"/>
            <ac:spMk id="9" creationId="{DBFE4DDE-98BC-437C-9729-62DAABC4D5B2}"/>
          </ac:spMkLst>
        </pc:spChg>
      </pc:sldChg>
      <pc:sldChg chg="modSp">
        <pc:chgData name="Milleret, Vincent" userId="c6eff0b6-8096-43cd-a24f-759689f3329d" providerId="ADAL" clId="{EFE5DC9E-B740-4F2B-A311-EF4CDCA68A84}" dt="2020-04-27T10:20:07.412" v="199" actId="20577"/>
        <pc:sldMkLst>
          <pc:docMk/>
          <pc:sldMk cId="2893262220" sldId="2727"/>
        </pc:sldMkLst>
        <pc:spChg chg="mod">
          <ac:chgData name="Milleret, Vincent" userId="c6eff0b6-8096-43cd-a24f-759689f3329d" providerId="ADAL" clId="{EFE5DC9E-B740-4F2B-A311-EF4CDCA68A84}" dt="2020-04-27T10:14:37.226" v="151" actId="20577"/>
          <ac:spMkLst>
            <pc:docMk/>
            <pc:sldMk cId="2893262220" sldId="2727"/>
            <ac:spMk id="31" creationId="{98A32019-936F-4995-895F-536705B00016}"/>
          </ac:spMkLst>
        </pc:spChg>
        <pc:spChg chg="mod">
          <ac:chgData name="Milleret, Vincent" userId="c6eff0b6-8096-43cd-a24f-759689f3329d" providerId="ADAL" clId="{EFE5DC9E-B740-4F2B-A311-EF4CDCA68A84}" dt="2020-04-27T10:12:03.709" v="96" actId="207"/>
          <ac:spMkLst>
            <pc:docMk/>
            <pc:sldMk cId="2893262220" sldId="2727"/>
            <ac:spMk id="35" creationId="{9D5767D8-AA72-4794-B21B-75415A9F5D6A}"/>
          </ac:spMkLst>
        </pc:spChg>
        <pc:spChg chg="mod">
          <ac:chgData name="Milleret, Vincent" userId="c6eff0b6-8096-43cd-a24f-759689f3329d" providerId="ADAL" clId="{EFE5DC9E-B740-4F2B-A311-EF4CDCA68A84}" dt="2020-04-27T10:20:07.412" v="199" actId="20577"/>
          <ac:spMkLst>
            <pc:docMk/>
            <pc:sldMk cId="2893262220" sldId="2727"/>
            <ac:spMk id="36" creationId="{55822ED1-AC9E-45CC-85B4-F45130EBF526}"/>
          </ac:spMkLst>
        </pc:spChg>
        <pc:picChg chg="mod">
          <ac:chgData name="Milleret, Vincent" userId="c6eff0b6-8096-43cd-a24f-759689f3329d" providerId="ADAL" clId="{EFE5DC9E-B740-4F2B-A311-EF4CDCA68A84}" dt="2020-04-27T10:14:28.371" v="149" actId="1076"/>
          <ac:picMkLst>
            <pc:docMk/>
            <pc:sldMk cId="2893262220" sldId="2727"/>
            <ac:picMk id="6" creationId="{FD1B5FA4-0F59-4BC7-9EF0-B0DEC8708073}"/>
          </ac:picMkLst>
        </pc:picChg>
      </pc:sldChg>
      <pc:sldChg chg="modSp">
        <pc:chgData name="Milleret, Vincent" userId="c6eff0b6-8096-43cd-a24f-759689f3329d" providerId="ADAL" clId="{EFE5DC9E-B740-4F2B-A311-EF4CDCA68A84}" dt="2020-04-27T07:53:26.394" v="30" actId="13926"/>
        <pc:sldMkLst>
          <pc:docMk/>
          <pc:sldMk cId="1480069257" sldId="2734"/>
        </pc:sldMkLst>
        <pc:spChg chg="mod">
          <ac:chgData name="Milleret, Vincent" userId="c6eff0b6-8096-43cd-a24f-759689f3329d" providerId="ADAL" clId="{EFE5DC9E-B740-4F2B-A311-EF4CDCA68A84}" dt="2020-04-27T07:53:26.394" v="30" actId="13926"/>
          <ac:spMkLst>
            <pc:docMk/>
            <pc:sldMk cId="1480069257" sldId="2734"/>
            <ac:spMk id="2" creationId="{2CAA6659-DF9F-477B-94B7-8002E3502FF7}"/>
          </ac:spMkLst>
        </pc:spChg>
      </pc:sldChg>
      <pc:sldChg chg="addSp modSp">
        <pc:chgData name="Milleret, Vincent" userId="c6eff0b6-8096-43cd-a24f-759689f3329d" providerId="ADAL" clId="{EFE5DC9E-B740-4F2B-A311-EF4CDCA68A84}" dt="2020-04-27T10:23:21.604" v="211" actId="20577"/>
        <pc:sldMkLst>
          <pc:docMk/>
          <pc:sldMk cId="3102595566" sldId="3112"/>
        </pc:sldMkLst>
        <pc:spChg chg="mod">
          <ac:chgData name="Milleret, Vincent" userId="c6eff0b6-8096-43cd-a24f-759689f3329d" providerId="ADAL" clId="{EFE5DC9E-B740-4F2B-A311-EF4CDCA68A84}" dt="2020-04-27T10:08:28.528" v="52" actId="20577"/>
          <ac:spMkLst>
            <pc:docMk/>
            <pc:sldMk cId="3102595566" sldId="3112"/>
            <ac:spMk id="15" creationId="{B5A38E2A-49CD-4F7D-907A-4FFDD4AB65DC}"/>
          </ac:spMkLst>
        </pc:spChg>
        <pc:spChg chg="mod">
          <ac:chgData name="Milleret, Vincent" userId="c6eff0b6-8096-43cd-a24f-759689f3329d" providerId="ADAL" clId="{EFE5DC9E-B740-4F2B-A311-EF4CDCA68A84}" dt="2020-04-27T10:08:33.525" v="54" actId="20577"/>
          <ac:spMkLst>
            <pc:docMk/>
            <pc:sldMk cId="3102595566" sldId="3112"/>
            <ac:spMk id="18" creationId="{199573A9-43AE-4960-BDF2-5DE72D69DAB8}"/>
          </ac:spMkLst>
        </pc:spChg>
        <pc:spChg chg="add mod">
          <ac:chgData name="Milleret, Vincent" userId="c6eff0b6-8096-43cd-a24f-759689f3329d" providerId="ADAL" clId="{EFE5DC9E-B740-4F2B-A311-EF4CDCA68A84}" dt="2020-04-27T10:23:21.604" v="211" actId="20577"/>
          <ac:spMkLst>
            <pc:docMk/>
            <pc:sldMk cId="3102595566" sldId="3112"/>
            <ac:spMk id="19" creationId="{084A1EBA-50BD-4888-9636-AAC27F0001BF}"/>
          </ac:spMkLst>
        </pc:spChg>
      </pc:sldChg>
      <pc:sldChg chg="addSp modSp">
        <pc:chgData name="Milleret, Vincent" userId="c6eff0b6-8096-43cd-a24f-759689f3329d" providerId="ADAL" clId="{EFE5DC9E-B740-4F2B-A311-EF4CDCA68A84}" dt="2020-04-27T10:23:25.076" v="213" actId="20577"/>
        <pc:sldMkLst>
          <pc:docMk/>
          <pc:sldMk cId="3946528146" sldId="3114"/>
        </pc:sldMkLst>
        <pc:spChg chg="add mod">
          <ac:chgData name="Milleret, Vincent" userId="c6eff0b6-8096-43cd-a24f-759689f3329d" providerId="ADAL" clId="{EFE5DC9E-B740-4F2B-A311-EF4CDCA68A84}" dt="2020-04-27T10:23:25.076" v="213" actId="20577"/>
          <ac:spMkLst>
            <pc:docMk/>
            <pc:sldMk cId="3946528146" sldId="3114"/>
            <ac:spMk id="10" creationId="{5F8F014A-D755-415B-B125-D50EBE116FCB}"/>
          </ac:spMkLst>
        </pc:spChg>
        <pc:spChg chg="mod">
          <ac:chgData name="Milleret, Vincent" userId="c6eff0b6-8096-43cd-a24f-759689f3329d" providerId="ADAL" clId="{EFE5DC9E-B740-4F2B-A311-EF4CDCA68A84}" dt="2020-04-27T10:08:51.230" v="58" actId="20577"/>
          <ac:spMkLst>
            <pc:docMk/>
            <pc:sldMk cId="3946528146" sldId="3114"/>
            <ac:spMk id="14" creationId="{98990BC9-204B-46F4-ACA0-7E8CF1CCEFC1}"/>
          </ac:spMkLst>
        </pc:spChg>
        <pc:spChg chg="mod">
          <ac:chgData name="Milleret, Vincent" userId="c6eff0b6-8096-43cd-a24f-759689f3329d" providerId="ADAL" clId="{EFE5DC9E-B740-4F2B-A311-EF4CDCA68A84}" dt="2020-04-27T10:08:47.280" v="55"/>
          <ac:spMkLst>
            <pc:docMk/>
            <pc:sldMk cId="3946528146" sldId="3114"/>
            <ac:spMk id="18" creationId="{199573A9-43AE-4960-BDF2-5DE72D69DAB8}"/>
          </ac:spMkLst>
        </pc:spChg>
      </pc:sldChg>
      <pc:sldChg chg="addSp modSp">
        <pc:chgData name="Milleret, Vincent" userId="c6eff0b6-8096-43cd-a24f-759689f3329d" providerId="ADAL" clId="{EFE5DC9E-B740-4F2B-A311-EF4CDCA68A84}" dt="2020-04-27T10:22:57.810" v="209" actId="6549"/>
        <pc:sldMkLst>
          <pc:docMk/>
          <pc:sldMk cId="30673347" sldId="3115"/>
        </pc:sldMkLst>
        <pc:spChg chg="mod">
          <ac:chgData name="Milleret, Vincent" userId="c6eff0b6-8096-43cd-a24f-759689f3329d" providerId="ADAL" clId="{EFE5DC9E-B740-4F2B-A311-EF4CDCA68A84}" dt="2020-04-27T10:09:00.052" v="61"/>
          <ac:spMkLst>
            <pc:docMk/>
            <pc:sldMk cId="30673347" sldId="3115"/>
            <ac:spMk id="18" creationId="{199573A9-43AE-4960-BDF2-5DE72D69DAB8}"/>
          </ac:spMkLst>
        </pc:spChg>
        <pc:spChg chg="mod">
          <ac:chgData name="Milleret, Vincent" userId="c6eff0b6-8096-43cd-a24f-759689f3329d" providerId="ADAL" clId="{EFE5DC9E-B740-4F2B-A311-EF4CDCA68A84}" dt="2020-04-27T10:09:04.332" v="64" actId="20577"/>
          <ac:spMkLst>
            <pc:docMk/>
            <pc:sldMk cId="30673347" sldId="3115"/>
            <ac:spMk id="32" creationId="{61555AD0-2DC6-44DA-9105-F12ECAD8571C}"/>
          </ac:spMkLst>
        </pc:spChg>
        <pc:spChg chg="add mod">
          <ac:chgData name="Milleret, Vincent" userId="c6eff0b6-8096-43cd-a24f-759689f3329d" providerId="ADAL" clId="{EFE5DC9E-B740-4F2B-A311-EF4CDCA68A84}" dt="2020-04-27T10:22:57.810" v="209" actId="6549"/>
          <ac:spMkLst>
            <pc:docMk/>
            <pc:sldMk cId="30673347" sldId="3115"/>
            <ac:spMk id="34" creationId="{E269B241-B2E5-4928-8A65-5BEB4A267981}"/>
          </ac:spMkLst>
        </pc:spChg>
      </pc:sldChg>
      <pc:sldChg chg="addSp modSp">
        <pc:chgData name="Milleret, Vincent" userId="c6eff0b6-8096-43cd-a24f-759689f3329d" providerId="ADAL" clId="{EFE5DC9E-B740-4F2B-A311-EF4CDCA68A84}" dt="2020-04-27T10:23:33.769" v="215" actId="20577"/>
        <pc:sldMkLst>
          <pc:docMk/>
          <pc:sldMk cId="4194314128" sldId="3116"/>
        </pc:sldMkLst>
        <pc:spChg chg="mod">
          <ac:chgData name="Milleret, Vincent" userId="c6eff0b6-8096-43cd-a24f-759689f3329d" providerId="ADAL" clId="{EFE5DC9E-B740-4F2B-A311-EF4CDCA68A84}" dt="2020-04-27T10:09:45.573" v="73" actId="20577"/>
          <ac:spMkLst>
            <pc:docMk/>
            <pc:sldMk cId="4194314128" sldId="3116"/>
            <ac:spMk id="4" creationId="{8F9EE932-A39C-499A-9877-0E09D0D0C6AD}"/>
          </ac:spMkLst>
        </pc:spChg>
        <pc:spChg chg="mod">
          <ac:chgData name="Milleret, Vincent" userId="c6eff0b6-8096-43cd-a24f-759689f3329d" providerId="ADAL" clId="{EFE5DC9E-B740-4F2B-A311-EF4CDCA68A84}" dt="2020-04-27T10:21:24.048" v="206" actId="6549"/>
          <ac:spMkLst>
            <pc:docMk/>
            <pc:sldMk cId="4194314128" sldId="3116"/>
            <ac:spMk id="18" creationId="{199573A9-43AE-4960-BDF2-5DE72D69DAB8}"/>
          </ac:spMkLst>
        </pc:spChg>
        <pc:spChg chg="add mod">
          <ac:chgData name="Milleret, Vincent" userId="c6eff0b6-8096-43cd-a24f-759689f3329d" providerId="ADAL" clId="{EFE5DC9E-B740-4F2B-A311-EF4CDCA68A84}" dt="2020-04-27T10:23:33.769" v="215" actId="20577"/>
          <ac:spMkLst>
            <pc:docMk/>
            <pc:sldMk cId="4194314128" sldId="3116"/>
            <ac:spMk id="20" creationId="{F50BDDA1-F9A1-4491-91C9-B8631BD5508E}"/>
          </ac:spMkLst>
        </pc:spChg>
        <pc:spChg chg="mod">
          <ac:chgData name="Milleret, Vincent" userId="c6eff0b6-8096-43cd-a24f-759689f3329d" providerId="ADAL" clId="{EFE5DC9E-B740-4F2B-A311-EF4CDCA68A84}" dt="2020-04-27T10:09:14.126" v="71" actId="20577"/>
          <ac:spMkLst>
            <pc:docMk/>
            <pc:sldMk cId="4194314128" sldId="3116"/>
            <ac:spMk id="21" creationId="{FDF44F91-D294-4B59-B054-EA9E158BEF20}"/>
          </ac:spMkLst>
        </pc:spChg>
      </pc:sldChg>
      <pc:sldChg chg="delSp modSp">
        <pc:chgData name="Milleret, Vincent" userId="c6eff0b6-8096-43cd-a24f-759689f3329d" providerId="ADAL" clId="{EFE5DC9E-B740-4F2B-A311-EF4CDCA68A84}" dt="2020-04-27T10:21:27.202" v="207" actId="20577"/>
        <pc:sldMkLst>
          <pc:docMk/>
          <pc:sldMk cId="425762052" sldId="3117"/>
        </pc:sldMkLst>
        <pc:spChg chg="del">
          <ac:chgData name="Milleret, Vincent" userId="c6eff0b6-8096-43cd-a24f-759689f3329d" providerId="ADAL" clId="{EFE5DC9E-B740-4F2B-A311-EF4CDCA68A84}" dt="2020-04-27T09:51:38.701" v="31" actId="478"/>
          <ac:spMkLst>
            <pc:docMk/>
            <pc:sldMk cId="425762052" sldId="3117"/>
            <ac:spMk id="2" creationId="{F5760A26-37E0-4B85-8D5D-2F94779790B3}"/>
          </ac:spMkLst>
        </pc:spChg>
        <pc:spChg chg="mod">
          <ac:chgData name="Milleret, Vincent" userId="c6eff0b6-8096-43cd-a24f-759689f3329d" providerId="ADAL" clId="{EFE5DC9E-B740-4F2B-A311-EF4CDCA68A84}" dt="2020-04-27T10:09:22.738" v="72" actId="1076"/>
          <ac:spMkLst>
            <pc:docMk/>
            <pc:sldMk cId="425762052" sldId="3117"/>
            <ac:spMk id="15" creationId="{1839614A-C3FB-46E1-AFB2-04A6C674FE05}"/>
          </ac:spMkLst>
        </pc:spChg>
        <pc:spChg chg="mod">
          <ac:chgData name="Milleret, Vincent" userId="c6eff0b6-8096-43cd-a24f-759689f3329d" providerId="ADAL" clId="{EFE5DC9E-B740-4F2B-A311-EF4CDCA68A84}" dt="2020-04-27T10:21:27.202" v="207" actId="20577"/>
          <ac:spMkLst>
            <pc:docMk/>
            <pc:sldMk cId="425762052" sldId="3117"/>
            <ac:spMk id="18" creationId="{199573A9-43AE-4960-BDF2-5DE72D69DAB8}"/>
          </ac:spMkLst>
        </pc:spChg>
      </pc:sldChg>
      <pc:sldChg chg="modSp">
        <pc:chgData name="Milleret, Vincent" userId="c6eff0b6-8096-43cd-a24f-759689f3329d" providerId="ADAL" clId="{EFE5DC9E-B740-4F2B-A311-EF4CDCA68A84}" dt="2020-04-27T10:18:19.673" v="194" actId="20577"/>
        <pc:sldMkLst>
          <pc:docMk/>
          <pc:sldMk cId="1930666001" sldId="3139"/>
        </pc:sldMkLst>
        <pc:spChg chg="mod">
          <ac:chgData name="Milleret, Vincent" userId="c6eff0b6-8096-43cd-a24f-759689f3329d" providerId="ADAL" clId="{EFE5DC9E-B740-4F2B-A311-EF4CDCA68A84}" dt="2020-04-27T10:18:19.673" v="194" actId="20577"/>
          <ac:spMkLst>
            <pc:docMk/>
            <pc:sldMk cId="1930666001" sldId="3139"/>
            <ac:spMk id="12" creationId="{241DFBE9-62A9-4A3B-9106-AF3147AB26C9}"/>
          </ac:spMkLst>
        </pc:spChg>
        <pc:spChg chg="mod">
          <ac:chgData name="Milleret, Vincent" userId="c6eff0b6-8096-43cd-a24f-759689f3329d" providerId="ADAL" clId="{EFE5DC9E-B740-4F2B-A311-EF4CDCA68A84}" dt="2020-04-27T10:15:10.396" v="152" actId="1076"/>
          <ac:spMkLst>
            <pc:docMk/>
            <pc:sldMk cId="1930666001" sldId="3139"/>
            <ac:spMk id="14" creationId="{E2B86E45-AEC2-4CE6-B0EE-8B3CB7216D7F}"/>
          </ac:spMkLst>
        </pc:spChg>
        <pc:spChg chg="mod">
          <ac:chgData name="Milleret, Vincent" userId="c6eff0b6-8096-43cd-a24f-759689f3329d" providerId="ADAL" clId="{EFE5DC9E-B740-4F2B-A311-EF4CDCA68A84}" dt="2020-04-27T10:15:32.768" v="158" actId="20577"/>
          <ac:spMkLst>
            <pc:docMk/>
            <pc:sldMk cId="1930666001" sldId="3139"/>
            <ac:spMk id="15" creationId="{5BC8A116-F09E-4936-B448-DDAD07C37956}"/>
          </ac:spMkLst>
        </pc:spChg>
      </pc:sldChg>
      <pc:sldChg chg="modSp">
        <pc:chgData name="Milleret, Vincent" userId="c6eff0b6-8096-43cd-a24f-759689f3329d" providerId="ADAL" clId="{EFE5DC9E-B740-4F2B-A311-EF4CDCA68A84}" dt="2020-04-27T10:19:27.933" v="198" actId="20577"/>
        <pc:sldMkLst>
          <pc:docMk/>
          <pc:sldMk cId="2850059517" sldId="3143"/>
        </pc:sldMkLst>
        <pc:spChg chg="mod">
          <ac:chgData name="Milleret, Vincent" userId="c6eff0b6-8096-43cd-a24f-759689f3329d" providerId="ADAL" clId="{EFE5DC9E-B740-4F2B-A311-EF4CDCA68A84}" dt="2020-04-27T10:19:27.933" v="198" actId="20577"/>
          <ac:spMkLst>
            <pc:docMk/>
            <pc:sldMk cId="2850059517" sldId="3143"/>
            <ac:spMk id="18" creationId="{199573A9-43AE-4960-BDF2-5DE72D69DAB8}"/>
          </ac:spMkLst>
        </pc:spChg>
      </pc:sldChg>
      <pc:sldChg chg="modSp">
        <pc:chgData name="Milleret, Vincent" userId="c6eff0b6-8096-43cd-a24f-759689f3329d" providerId="ADAL" clId="{EFE5DC9E-B740-4F2B-A311-EF4CDCA68A84}" dt="2020-04-27T10:06:55.399" v="42" actId="113"/>
        <pc:sldMkLst>
          <pc:docMk/>
          <pc:sldMk cId="2912625112" sldId="3160"/>
        </pc:sldMkLst>
        <pc:spChg chg="mod">
          <ac:chgData name="Milleret, Vincent" userId="c6eff0b6-8096-43cd-a24f-759689f3329d" providerId="ADAL" clId="{EFE5DC9E-B740-4F2B-A311-EF4CDCA68A84}" dt="2020-04-27T10:06:55.399" v="42" actId="113"/>
          <ac:spMkLst>
            <pc:docMk/>
            <pc:sldMk cId="2912625112" sldId="3160"/>
            <ac:spMk id="14" creationId="{2AF53D99-69CF-4969-BE0C-ED97E32FEA37}"/>
          </ac:spMkLst>
        </pc:spChg>
      </pc:sldChg>
      <pc:sldChg chg="addSp delSp modSp">
        <pc:chgData name="Milleret, Vincent" userId="c6eff0b6-8096-43cd-a24f-759689f3329d" providerId="ADAL" clId="{EFE5DC9E-B740-4F2B-A311-EF4CDCA68A84}" dt="2020-04-27T10:20:22.768" v="200" actId="6549"/>
        <pc:sldMkLst>
          <pc:docMk/>
          <pc:sldMk cId="1934914241" sldId="3212"/>
        </pc:sldMkLst>
        <pc:spChg chg="mod">
          <ac:chgData name="Milleret, Vincent" userId="c6eff0b6-8096-43cd-a24f-759689f3329d" providerId="ADAL" clId="{EFE5DC9E-B740-4F2B-A311-EF4CDCA68A84}" dt="2020-04-27T10:20:22.768" v="200" actId="6549"/>
          <ac:spMkLst>
            <pc:docMk/>
            <pc:sldMk cId="1934914241" sldId="3212"/>
            <ac:spMk id="14" creationId="{C4141D0B-3AA4-4C22-B111-BBDDE616C017}"/>
          </ac:spMkLst>
        </pc:spChg>
        <pc:spChg chg="mod">
          <ac:chgData name="Milleret, Vincent" userId="c6eff0b6-8096-43cd-a24f-759689f3329d" providerId="ADAL" clId="{EFE5DC9E-B740-4F2B-A311-EF4CDCA68A84}" dt="2020-04-27T10:11:37.167" v="89"/>
          <ac:spMkLst>
            <pc:docMk/>
            <pc:sldMk cId="1934914241" sldId="3212"/>
            <ac:spMk id="20" creationId="{86A86697-AFA3-449F-9210-FDB6CBB03520}"/>
          </ac:spMkLst>
        </pc:spChg>
        <pc:spChg chg="add del">
          <ac:chgData name="Milleret, Vincent" userId="c6eff0b6-8096-43cd-a24f-759689f3329d" providerId="ADAL" clId="{EFE5DC9E-B740-4F2B-A311-EF4CDCA68A84}" dt="2020-04-27T10:11:28.051" v="85"/>
          <ac:spMkLst>
            <pc:docMk/>
            <pc:sldMk cId="1934914241" sldId="3212"/>
            <ac:spMk id="23" creationId="{96D0AF91-1E91-4972-9491-AB3AD2ACEC13}"/>
          </ac:spMkLst>
        </pc:spChg>
        <pc:spChg chg="add del">
          <ac:chgData name="Milleret, Vincent" userId="c6eff0b6-8096-43cd-a24f-759689f3329d" providerId="ADAL" clId="{EFE5DC9E-B740-4F2B-A311-EF4CDCA68A84}" dt="2020-04-27T10:11:32.238" v="87"/>
          <ac:spMkLst>
            <pc:docMk/>
            <pc:sldMk cId="1934914241" sldId="3212"/>
            <ac:spMk id="24" creationId="{CC2C850A-6E57-4287-A3B8-8E0607E8329F}"/>
          </ac:spMkLst>
        </pc:spChg>
      </pc:sldChg>
    </pc:docChg>
  </pc:docChgLst>
  <pc:docChgLst>
    <pc:chgData name="Milleret, Vincent" userId="c6eff0b6-8096-43cd-a24f-759689f3329d" providerId="ADAL" clId="{CFEBD250-3DCE-4BFC-8BDC-3D52A8736A91}"/>
    <pc:docChg chg="undo custSel modSld">
      <pc:chgData name="Milleret, Vincent" userId="c6eff0b6-8096-43cd-a24f-759689f3329d" providerId="ADAL" clId="{CFEBD250-3DCE-4BFC-8BDC-3D52A8736A91}" dt="2020-05-26T08:29:41.372" v="419" actId="1035"/>
      <pc:docMkLst>
        <pc:docMk/>
      </pc:docMkLst>
      <pc:sldChg chg="modSp">
        <pc:chgData name="Milleret, Vincent" userId="c6eff0b6-8096-43cd-a24f-759689f3329d" providerId="ADAL" clId="{CFEBD250-3DCE-4BFC-8BDC-3D52A8736A91}" dt="2020-05-26T06:21:50.438" v="0" actId="20577"/>
        <pc:sldMkLst>
          <pc:docMk/>
          <pc:sldMk cId="1480069257" sldId="2734"/>
        </pc:sldMkLst>
        <pc:spChg chg="mod">
          <ac:chgData name="Milleret, Vincent" userId="c6eff0b6-8096-43cd-a24f-759689f3329d" providerId="ADAL" clId="{CFEBD250-3DCE-4BFC-8BDC-3D52A8736A91}" dt="2020-05-26T06:21:50.438" v="0" actId="20577"/>
          <ac:spMkLst>
            <pc:docMk/>
            <pc:sldMk cId="1480069257" sldId="2734"/>
            <ac:spMk id="2" creationId="{2CAA6659-DF9F-477B-94B7-8002E3502FF7}"/>
          </ac:spMkLst>
        </pc:spChg>
      </pc:sldChg>
      <pc:sldChg chg="addSp delSp modSp">
        <pc:chgData name="Milleret, Vincent" userId="c6eff0b6-8096-43cd-a24f-759689f3329d" providerId="ADAL" clId="{CFEBD250-3DCE-4BFC-8BDC-3D52A8736A91}" dt="2020-05-26T08:29:41.372" v="419" actId="1035"/>
        <pc:sldMkLst>
          <pc:docMk/>
          <pc:sldMk cId="30673347" sldId="3115"/>
        </pc:sldMkLst>
        <pc:spChg chg="mod topLvl">
          <ac:chgData name="Milleret, Vincent" userId="c6eff0b6-8096-43cd-a24f-759689f3329d" providerId="ADAL" clId="{CFEBD250-3DCE-4BFC-8BDC-3D52A8736A91}" dt="2020-05-26T08:29:30.413" v="413" actId="1038"/>
          <ac:spMkLst>
            <pc:docMk/>
            <pc:sldMk cId="30673347" sldId="3115"/>
            <ac:spMk id="2" creationId="{30B6F210-6D7E-4486-94EC-3E18220EAF80}"/>
          </ac:spMkLst>
        </pc:spChg>
        <pc:spChg chg="mod topLvl">
          <ac:chgData name="Milleret, Vincent" userId="c6eff0b6-8096-43cd-a24f-759689f3329d" providerId="ADAL" clId="{CFEBD250-3DCE-4BFC-8BDC-3D52A8736A91}" dt="2020-05-26T08:29:30.413" v="413" actId="1038"/>
          <ac:spMkLst>
            <pc:docMk/>
            <pc:sldMk cId="30673347" sldId="3115"/>
            <ac:spMk id="3" creationId="{155486F4-764C-4E94-B5F4-C3B7BAFA0FE9}"/>
          </ac:spMkLst>
        </pc:spChg>
        <pc:spChg chg="mod topLvl">
          <ac:chgData name="Milleret, Vincent" userId="c6eff0b6-8096-43cd-a24f-759689f3329d" providerId="ADAL" clId="{CFEBD250-3DCE-4BFC-8BDC-3D52A8736A91}" dt="2020-05-26T08:29:30.413" v="413" actId="1038"/>
          <ac:spMkLst>
            <pc:docMk/>
            <pc:sldMk cId="30673347" sldId="3115"/>
            <ac:spMk id="5" creationId="{9C900355-FE88-4952-9A90-84E0D4D82AC3}"/>
          </ac:spMkLst>
        </pc:spChg>
        <pc:spChg chg="mod topLvl">
          <ac:chgData name="Milleret, Vincent" userId="c6eff0b6-8096-43cd-a24f-759689f3329d" providerId="ADAL" clId="{CFEBD250-3DCE-4BFC-8BDC-3D52A8736A91}" dt="2020-05-26T08:29:30.413" v="413" actId="1038"/>
          <ac:spMkLst>
            <pc:docMk/>
            <pc:sldMk cId="30673347" sldId="3115"/>
            <ac:spMk id="6" creationId="{B559A5C5-CC0A-43C8-87B9-C8EA4E8FC966}"/>
          </ac:spMkLst>
        </pc:spChg>
        <pc:spChg chg="add del mod">
          <ac:chgData name="Milleret, Vincent" userId="c6eff0b6-8096-43cd-a24f-759689f3329d" providerId="ADAL" clId="{CFEBD250-3DCE-4BFC-8BDC-3D52A8736A91}" dt="2020-05-26T08:27:36.551" v="302" actId="478"/>
          <ac:spMkLst>
            <pc:docMk/>
            <pc:sldMk cId="30673347" sldId="3115"/>
            <ac:spMk id="7" creationId="{671645BD-3016-4E74-8030-9AC806BECE3C}"/>
          </ac:spMkLst>
        </pc:spChg>
        <pc:spChg chg="add mod">
          <ac:chgData name="Milleret, Vincent" userId="c6eff0b6-8096-43cd-a24f-759689f3329d" providerId="ADAL" clId="{CFEBD250-3DCE-4BFC-8BDC-3D52A8736A91}" dt="2020-05-26T08:29:30.413" v="413" actId="1038"/>
          <ac:spMkLst>
            <pc:docMk/>
            <pc:sldMk cId="30673347" sldId="3115"/>
            <ac:spMk id="10" creationId="{0F541520-EDEB-4505-8ADE-A7793D9321D8}"/>
          </ac:spMkLst>
        </pc:spChg>
        <pc:spChg chg="mod topLvl">
          <ac:chgData name="Milleret, Vincent" userId="c6eff0b6-8096-43cd-a24f-759689f3329d" providerId="ADAL" clId="{CFEBD250-3DCE-4BFC-8BDC-3D52A8736A91}" dt="2020-05-26T08:29:30.413" v="413" actId="1038"/>
          <ac:spMkLst>
            <pc:docMk/>
            <pc:sldMk cId="30673347" sldId="3115"/>
            <ac:spMk id="21" creationId="{A097DE43-2481-4156-B2B9-7F1AB2419036}"/>
          </ac:spMkLst>
        </pc:spChg>
        <pc:spChg chg="mod topLvl">
          <ac:chgData name="Milleret, Vincent" userId="c6eff0b6-8096-43cd-a24f-759689f3329d" providerId="ADAL" clId="{CFEBD250-3DCE-4BFC-8BDC-3D52A8736A91}" dt="2020-05-26T08:29:30.413" v="413" actId="1038"/>
          <ac:spMkLst>
            <pc:docMk/>
            <pc:sldMk cId="30673347" sldId="3115"/>
            <ac:spMk id="22" creationId="{CA94EA1F-61B9-4311-95EC-1D82B895A643}"/>
          </ac:spMkLst>
        </pc:spChg>
        <pc:spChg chg="del">
          <ac:chgData name="Milleret, Vincent" userId="c6eff0b6-8096-43cd-a24f-759689f3329d" providerId="ADAL" clId="{CFEBD250-3DCE-4BFC-8BDC-3D52A8736A91}" dt="2020-05-26T08:15:42.111" v="42" actId="478"/>
          <ac:spMkLst>
            <pc:docMk/>
            <pc:sldMk cId="30673347" sldId="3115"/>
            <ac:spMk id="26" creationId="{74F521E3-3B66-42D5-98C9-F8133CE9A862}"/>
          </ac:spMkLst>
        </pc:spChg>
        <pc:spChg chg="mod">
          <ac:chgData name="Milleret, Vincent" userId="c6eff0b6-8096-43cd-a24f-759689f3329d" providerId="ADAL" clId="{CFEBD250-3DCE-4BFC-8BDC-3D52A8736A91}" dt="2020-05-26T08:29:41.372" v="419" actId="1035"/>
          <ac:spMkLst>
            <pc:docMk/>
            <pc:sldMk cId="30673347" sldId="3115"/>
            <ac:spMk id="31" creationId="{9FA798F6-0233-4E31-96E6-F6C27694A753}"/>
          </ac:spMkLst>
        </pc:spChg>
        <pc:spChg chg="mod">
          <ac:chgData name="Milleret, Vincent" userId="c6eff0b6-8096-43cd-a24f-759689f3329d" providerId="ADAL" clId="{CFEBD250-3DCE-4BFC-8BDC-3D52A8736A91}" dt="2020-05-26T08:21:02.318" v="201" actId="1035"/>
          <ac:spMkLst>
            <pc:docMk/>
            <pc:sldMk cId="30673347" sldId="3115"/>
            <ac:spMk id="34" creationId="{E269B241-B2E5-4928-8A65-5BEB4A267981}"/>
          </ac:spMkLst>
        </pc:spChg>
        <pc:spChg chg="del">
          <ac:chgData name="Milleret, Vincent" userId="c6eff0b6-8096-43cd-a24f-759689f3329d" providerId="ADAL" clId="{CFEBD250-3DCE-4BFC-8BDC-3D52A8736A91}" dt="2020-05-26T08:16:08.191" v="48" actId="478"/>
          <ac:spMkLst>
            <pc:docMk/>
            <pc:sldMk cId="30673347" sldId="3115"/>
            <ac:spMk id="37" creationId="{9C487BA3-30B9-40CB-83C1-2278006136CF}"/>
          </ac:spMkLst>
        </pc:spChg>
        <pc:spChg chg="mod topLvl">
          <ac:chgData name="Milleret, Vincent" userId="c6eff0b6-8096-43cd-a24f-759689f3329d" providerId="ADAL" clId="{CFEBD250-3DCE-4BFC-8BDC-3D52A8736A91}" dt="2020-05-26T08:29:30.413" v="413" actId="1038"/>
          <ac:spMkLst>
            <pc:docMk/>
            <pc:sldMk cId="30673347" sldId="3115"/>
            <ac:spMk id="44" creationId="{21464DDD-DCBF-48E0-90C2-3E554044CBFB}"/>
          </ac:spMkLst>
        </pc:spChg>
        <pc:spChg chg="del mod topLvl">
          <ac:chgData name="Milleret, Vincent" userId="c6eff0b6-8096-43cd-a24f-759689f3329d" providerId="ADAL" clId="{CFEBD250-3DCE-4BFC-8BDC-3D52A8736A91}" dt="2020-05-26T08:17:26.879" v="84" actId="478"/>
          <ac:spMkLst>
            <pc:docMk/>
            <pc:sldMk cId="30673347" sldId="3115"/>
            <ac:spMk id="45" creationId="{69D44EE9-0977-4384-A814-1FA81E1BE85D}"/>
          </ac:spMkLst>
        </pc:spChg>
        <pc:spChg chg="add del mod topLvl">
          <ac:chgData name="Milleret, Vincent" userId="c6eff0b6-8096-43cd-a24f-759689f3329d" providerId="ADAL" clId="{CFEBD250-3DCE-4BFC-8BDC-3D52A8736A91}" dt="2020-05-26T08:17:12.807" v="81" actId="478"/>
          <ac:spMkLst>
            <pc:docMk/>
            <pc:sldMk cId="30673347" sldId="3115"/>
            <ac:spMk id="46" creationId="{30E18D6C-00F9-421B-AB1D-94D46EA5409A}"/>
          </ac:spMkLst>
        </pc:spChg>
        <pc:spChg chg="del mod topLvl">
          <ac:chgData name="Milleret, Vincent" userId="c6eff0b6-8096-43cd-a24f-759689f3329d" providerId="ADAL" clId="{CFEBD250-3DCE-4BFC-8BDC-3D52A8736A91}" dt="2020-05-26T08:22:19.335" v="209" actId="478"/>
          <ac:spMkLst>
            <pc:docMk/>
            <pc:sldMk cId="30673347" sldId="3115"/>
            <ac:spMk id="47" creationId="{E5E025B5-4619-4457-90A2-9F4717155267}"/>
          </ac:spMkLst>
        </pc:spChg>
        <pc:spChg chg="del mod topLvl">
          <ac:chgData name="Milleret, Vincent" userId="c6eff0b6-8096-43cd-a24f-759689f3329d" providerId="ADAL" clId="{CFEBD250-3DCE-4BFC-8BDC-3D52A8736A91}" dt="2020-05-26T08:23:09.431" v="220" actId="478"/>
          <ac:spMkLst>
            <pc:docMk/>
            <pc:sldMk cId="30673347" sldId="3115"/>
            <ac:spMk id="48" creationId="{DFC168AB-B686-44C3-8AF1-BAB0B5A5DF5F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76" creationId="{3C6DC710-71AA-4FAB-8E2C-902A75E70C8F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77" creationId="{F2F8BD2B-786D-42E9-8318-8525FED5280A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78" creationId="{A91C229B-7C9D-4454-95B0-1ACD25FA3848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79" creationId="{9A625FEC-DF81-4E24-8FFE-9DA30EBF2179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80" creationId="{1569FAF5-F7AA-442A-9F89-B46039E655FC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81" creationId="{1CDE8AD5-D993-4D3E-BF59-85A3F35D82AD}"/>
          </ac:spMkLst>
        </pc:spChg>
        <pc:spChg chg="add mod">
          <ac:chgData name="Milleret, Vincent" userId="c6eff0b6-8096-43cd-a24f-759689f3329d" providerId="ADAL" clId="{CFEBD250-3DCE-4BFC-8BDC-3D52A8736A91}" dt="2020-05-26T08:29:16.858" v="403" actId="1036"/>
          <ac:spMkLst>
            <pc:docMk/>
            <pc:sldMk cId="30673347" sldId="3115"/>
            <ac:spMk id="82" creationId="{D0098D60-E92E-4F01-A6A5-5153569ABA6A}"/>
          </ac:spMkLst>
        </pc:spChg>
        <pc:spChg chg="add mod">
          <ac:chgData name="Milleret, Vincent" userId="c6eff0b6-8096-43cd-a24f-759689f3329d" providerId="ADAL" clId="{CFEBD250-3DCE-4BFC-8BDC-3D52A8736A91}" dt="2020-05-26T08:29:14.927" v="399" actId="1036"/>
          <ac:spMkLst>
            <pc:docMk/>
            <pc:sldMk cId="30673347" sldId="3115"/>
            <ac:spMk id="83" creationId="{AF89466B-726F-46C0-B1CF-8F3AD3A3AD74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84" creationId="{471C5C7A-FE55-46EC-9157-7A612494AC36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85" creationId="{4B37BFBA-E309-4CCA-8FF6-66C76900676A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86" creationId="{20820918-37BE-46A0-AA74-1661CCB29924}"/>
          </ac:spMkLst>
        </pc:spChg>
        <pc:spChg chg="add mod">
          <ac:chgData name="Milleret, Vincent" userId="c6eff0b6-8096-43cd-a24f-759689f3329d" providerId="ADAL" clId="{CFEBD250-3DCE-4BFC-8BDC-3D52A8736A91}" dt="2020-05-26T08:29:11.570" v="394" actId="1036"/>
          <ac:spMkLst>
            <pc:docMk/>
            <pc:sldMk cId="30673347" sldId="3115"/>
            <ac:spMk id="87" creationId="{21B8307A-73B0-4EC8-A86D-CBBD0B7B3BC9}"/>
          </ac:spMkLst>
        </pc:spChg>
        <pc:spChg chg="add del mod">
          <ac:chgData name="Milleret, Vincent" userId="c6eff0b6-8096-43cd-a24f-759689f3329d" providerId="ADAL" clId="{CFEBD250-3DCE-4BFC-8BDC-3D52A8736A91}" dt="2020-05-26T08:27:39.127" v="303" actId="478"/>
          <ac:spMkLst>
            <pc:docMk/>
            <pc:sldMk cId="30673347" sldId="3115"/>
            <ac:spMk id="88" creationId="{D75DFDED-D8C6-4242-AC7C-AD4165353CEC}"/>
          </ac:spMkLst>
        </pc:spChg>
        <pc:spChg chg="add mod">
          <ac:chgData name="Milleret, Vincent" userId="c6eff0b6-8096-43cd-a24f-759689f3329d" providerId="ADAL" clId="{CFEBD250-3DCE-4BFC-8BDC-3D52A8736A91}" dt="2020-05-26T08:29:30.413" v="413" actId="1038"/>
          <ac:spMkLst>
            <pc:docMk/>
            <pc:sldMk cId="30673347" sldId="3115"/>
            <ac:spMk id="89" creationId="{05BD5E92-7866-4265-8458-40A10DDB62E6}"/>
          </ac:spMkLst>
        </pc:spChg>
        <pc:grpChg chg="add del mod">
          <ac:chgData name="Milleret, Vincent" userId="c6eff0b6-8096-43cd-a24f-759689f3329d" providerId="ADAL" clId="{CFEBD250-3DCE-4BFC-8BDC-3D52A8736A91}" dt="2020-05-26T08:17:08.797" v="80" actId="165"/>
          <ac:grpSpMkLst>
            <pc:docMk/>
            <pc:sldMk cId="30673347" sldId="3115"/>
            <ac:grpSpMk id="4" creationId="{3BC1F6D0-BF8E-4DD0-B313-C2E362932526}"/>
          </ac:grpSpMkLst>
        </pc:grpChg>
        <pc:grpChg chg="add mod">
          <ac:chgData name="Milleret, Vincent" userId="c6eff0b6-8096-43cd-a24f-759689f3329d" providerId="ADAL" clId="{CFEBD250-3DCE-4BFC-8BDC-3D52A8736A91}" dt="2020-05-26T08:29:11.570" v="394" actId="1036"/>
          <ac:grpSpMkLst>
            <pc:docMk/>
            <pc:sldMk cId="30673347" sldId="3115"/>
            <ac:grpSpMk id="52" creationId="{04C3833C-443C-4694-8DE6-9FF05CBD4764}"/>
          </ac:grpSpMkLst>
        </pc:grpChg>
        <pc:grpChg chg="add mod">
          <ac:chgData name="Milleret, Vincent" userId="c6eff0b6-8096-43cd-a24f-759689f3329d" providerId="ADAL" clId="{CFEBD250-3DCE-4BFC-8BDC-3D52A8736A91}" dt="2020-05-26T08:29:11.570" v="394" actId="1036"/>
          <ac:grpSpMkLst>
            <pc:docMk/>
            <pc:sldMk cId="30673347" sldId="3115"/>
            <ac:grpSpMk id="61" creationId="{CED7839A-0302-4690-B96C-0EE3808DDF3E}"/>
          </ac:grpSpMkLst>
        </pc:grpChg>
        <pc:picChg chg="mod topLvl">
          <ac:chgData name="Milleret, Vincent" userId="c6eff0b6-8096-43cd-a24f-759689f3329d" providerId="ADAL" clId="{CFEBD250-3DCE-4BFC-8BDC-3D52A8736A91}" dt="2020-05-26T08:29:30.413" v="413" actId="1038"/>
          <ac:picMkLst>
            <pc:docMk/>
            <pc:sldMk cId="30673347" sldId="3115"/>
            <ac:picMk id="9" creationId="{46B70B4B-27F7-457C-A6AE-165D4D0CBAB8}"/>
          </ac:picMkLst>
        </pc:picChg>
        <pc:picChg chg="mod topLvl modCrop">
          <ac:chgData name="Milleret, Vincent" userId="c6eff0b6-8096-43cd-a24f-759689f3329d" providerId="ADAL" clId="{CFEBD250-3DCE-4BFC-8BDC-3D52A8736A91}" dt="2020-05-26T08:29:30.413" v="413" actId="1038"/>
          <ac:picMkLst>
            <pc:docMk/>
            <pc:sldMk cId="30673347" sldId="3115"/>
            <ac:picMk id="13" creationId="{C8A3C9C3-F982-4228-AB43-44D10FBA13F3}"/>
          </ac:picMkLst>
        </pc:picChg>
        <pc:picChg chg="del">
          <ac:chgData name="Milleret, Vincent" userId="c6eff0b6-8096-43cd-a24f-759689f3329d" providerId="ADAL" clId="{CFEBD250-3DCE-4BFC-8BDC-3D52A8736A91}" dt="2020-05-26T08:14:17.991" v="7" actId="478"/>
          <ac:picMkLst>
            <pc:docMk/>
            <pc:sldMk cId="30673347" sldId="3115"/>
            <ac:picMk id="23" creationId="{CF1C1EC6-157C-48A0-AA4D-74F991DAA22B}"/>
          </ac:picMkLst>
        </pc:picChg>
        <pc:cxnChg chg="mod topLvl">
          <ac:chgData name="Milleret, Vincent" userId="c6eff0b6-8096-43cd-a24f-759689f3329d" providerId="ADAL" clId="{CFEBD250-3DCE-4BFC-8BDC-3D52A8736A91}" dt="2020-05-26T08:29:30.413" v="413" actId="1038"/>
          <ac:cxnSpMkLst>
            <pc:docMk/>
            <pc:sldMk cId="30673347" sldId="3115"/>
            <ac:cxnSpMk id="14" creationId="{534EEDD3-EB1B-4DC6-A5DE-5F21829E6614}"/>
          </ac:cxnSpMkLst>
        </pc:cxnChg>
        <pc:cxnChg chg="mod topLvl">
          <ac:chgData name="Milleret, Vincent" userId="c6eff0b6-8096-43cd-a24f-759689f3329d" providerId="ADAL" clId="{CFEBD250-3DCE-4BFC-8BDC-3D52A8736A91}" dt="2020-05-26T08:29:30.413" v="413" actId="1038"/>
          <ac:cxnSpMkLst>
            <pc:docMk/>
            <pc:sldMk cId="30673347" sldId="3115"/>
            <ac:cxnSpMk id="17" creationId="{16A8C92B-7B4B-4C9D-B495-A29842002887}"/>
          </ac:cxnSpMkLst>
        </pc:cxnChg>
        <pc:cxnChg chg="del">
          <ac:chgData name="Milleret, Vincent" userId="c6eff0b6-8096-43cd-a24f-759689f3329d" providerId="ADAL" clId="{CFEBD250-3DCE-4BFC-8BDC-3D52A8736A91}" dt="2020-05-26T08:15:49.655" v="46" actId="478"/>
          <ac:cxnSpMkLst>
            <pc:docMk/>
            <pc:sldMk cId="30673347" sldId="3115"/>
            <ac:cxnSpMk id="28" creationId="{1DDC7302-F3D7-4D6D-B4BB-6196ED684CAA}"/>
          </ac:cxnSpMkLst>
        </pc:cxnChg>
        <pc:cxnChg chg="del">
          <ac:chgData name="Milleret, Vincent" userId="c6eff0b6-8096-43cd-a24f-759689f3329d" providerId="ADAL" clId="{CFEBD250-3DCE-4BFC-8BDC-3D52A8736A91}" dt="2020-05-26T08:15:45.583" v="43" actId="478"/>
          <ac:cxnSpMkLst>
            <pc:docMk/>
            <pc:sldMk cId="30673347" sldId="3115"/>
            <ac:cxnSpMk id="33" creationId="{52EBA1C8-4F5E-4ACD-81A8-894434F90CD1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35" creationId="{90B2C381-3C02-4EC9-9E97-60A030B4CEC8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36" creationId="{65AC21B9-38B3-436B-B6C9-C53C1B8A6946}"/>
          </ac:cxnSpMkLst>
        </pc:cxnChg>
        <pc:cxnChg chg="del">
          <ac:chgData name="Milleret, Vincent" userId="c6eff0b6-8096-43cd-a24f-759689f3329d" providerId="ADAL" clId="{CFEBD250-3DCE-4BFC-8BDC-3D52A8736A91}" dt="2020-05-26T08:16:06.680" v="47" actId="478"/>
          <ac:cxnSpMkLst>
            <pc:docMk/>
            <pc:sldMk cId="30673347" sldId="3115"/>
            <ac:cxnSpMk id="38" creationId="{6FEFE687-09C4-4523-8636-4F258C64358A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39" creationId="{5C4D3EF4-D53A-4884-AA4F-34389138E27E}"/>
          </ac:cxnSpMkLst>
        </pc:cxnChg>
        <pc:cxnChg chg="del">
          <ac:chgData name="Milleret, Vincent" userId="c6eff0b6-8096-43cd-a24f-759689f3329d" providerId="ADAL" clId="{CFEBD250-3DCE-4BFC-8BDC-3D52A8736A91}" dt="2020-05-26T08:16:10.024" v="49" actId="478"/>
          <ac:cxnSpMkLst>
            <pc:docMk/>
            <pc:sldMk cId="30673347" sldId="3115"/>
            <ac:cxnSpMk id="40" creationId="{0FC2050B-1D71-4F7C-8EFF-E7BF3D508681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41" creationId="{6D139668-DF78-4342-8D62-DE9ACF056279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43" creationId="{228DFAFC-E926-4965-9CCA-0CFE09CC1653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49" creationId="{C6D7D9E9-7798-4797-A386-8E98C38A2A97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50" creationId="{940C815E-B7E2-49F0-873B-B9C8A7F4740C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51" creationId="{C32BC3E4-3A91-4AB3-9744-C9E8E22D7932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69" creationId="{B8919BE6-5F42-46FF-9821-48C017E2B30F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70" creationId="{A8B3F4C8-DA36-4F8B-9478-85792A2D1ED2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71" creationId="{F16A4A58-7E0B-4E21-BB0A-96AFD4621F9D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72" creationId="{C522B8AE-4F2C-4993-91F0-34270C91686F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73" creationId="{D8F81FF5-4CF8-4BBB-B800-6CE36DEA7492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74" creationId="{C04BE7AE-2302-471C-85CF-E2FEE8F001D8}"/>
          </ac:cxnSpMkLst>
        </pc:cxnChg>
        <pc:cxnChg chg="add mod">
          <ac:chgData name="Milleret, Vincent" userId="c6eff0b6-8096-43cd-a24f-759689f3329d" providerId="ADAL" clId="{CFEBD250-3DCE-4BFC-8BDC-3D52A8736A91}" dt="2020-05-26T08:29:11.570" v="394" actId="1036"/>
          <ac:cxnSpMkLst>
            <pc:docMk/>
            <pc:sldMk cId="30673347" sldId="3115"/>
            <ac:cxnSpMk id="75" creationId="{9BB1961D-EFF8-43DE-B671-9F5A6874E8FE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spPr>
            <a:ln w="12700" cap="rnd">
              <a:solidFill>
                <a:schemeClr val="accent1"/>
              </a:solidFill>
              <a:prstDash val="sysDash"/>
              <a:round/>
            </a:ln>
            <a:effectLst/>
          </c:spPr>
          <c:marker>
            <c:symbol val="none"/>
          </c:marker>
          <c:xVal>
            <c:numRef>
              <c:f>Sheet1!$R$21:$AP$21</c:f>
              <c:numCache>
                <c:formatCode>General</c:formatCode>
                <c:ptCount val="25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  <c:pt idx="5">
                  <c:v>2.5</c:v>
                </c:pt>
                <c:pt idx="6">
                  <c:v>3</c:v>
                </c:pt>
                <c:pt idx="7">
                  <c:v>3.5</c:v>
                </c:pt>
                <c:pt idx="8">
                  <c:v>4</c:v>
                </c:pt>
                <c:pt idx="9">
                  <c:v>4.5</c:v>
                </c:pt>
                <c:pt idx="10">
                  <c:v>5</c:v>
                </c:pt>
                <c:pt idx="11">
                  <c:v>5.5</c:v>
                </c:pt>
                <c:pt idx="12">
                  <c:v>6</c:v>
                </c:pt>
                <c:pt idx="13">
                  <c:v>6.5</c:v>
                </c:pt>
                <c:pt idx="14">
                  <c:v>7</c:v>
                </c:pt>
                <c:pt idx="15">
                  <c:v>7.5</c:v>
                </c:pt>
                <c:pt idx="16">
                  <c:v>8</c:v>
                </c:pt>
                <c:pt idx="17">
                  <c:v>8.5</c:v>
                </c:pt>
                <c:pt idx="18">
                  <c:v>9</c:v>
                </c:pt>
                <c:pt idx="19">
                  <c:v>9.5</c:v>
                </c:pt>
                <c:pt idx="20">
                  <c:v>10</c:v>
                </c:pt>
                <c:pt idx="21">
                  <c:v>10.5</c:v>
                </c:pt>
                <c:pt idx="22">
                  <c:v>11</c:v>
                </c:pt>
                <c:pt idx="23">
                  <c:v>11.5</c:v>
                </c:pt>
                <c:pt idx="24">
                  <c:v>12</c:v>
                </c:pt>
              </c:numCache>
            </c:numRef>
          </c:xVal>
          <c:yVal>
            <c:numRef>
              <c:f>Sheet1!$R$22:$AP$22</c:f>
              <c:numCache>
                <c:formatCode>General</c:formatCode>
                <c:ptCount val="25"/>
                <c:pt idx="0">
                  <c:v>100</c:v>
                </c:pt>
                <c:pt idx="1">
                  <c:v>28.643216080402013</c:v>
                </c:pt>
                <c:pt idx="2">
                  <c:v>99.497487437185924</c:v>
                </c:pt>
                <c:pt idx="3">
                  <c:v>29.145728643216078</c:v>
                </c:pt>
                <c:pt idx="4">
                  <c:v>99.497487437185924</c:v>
                </c:pt>
                <c:pt idx="5">
                  <c:v>29.145728643216078</c:v>
                </c:pt>
                <c:pt idx="6">
                  <c:v>100</c:v>
                </c:pt>
                <c:pt idx="7">
                  <c:v>29.145728643216078</c:v>
                </c:pt>
                <c:pt idx="8">
                  <c:v>98.994974874371849</c:v>
                </c:pt>
                <c:pt idx="9">
                  <c:v>29.145728643216078</c:v>
                </c:pt>
                <c:pt idx="10">
                  <c:v>98.994974874371849</c:v>
                </c:pt>
                <c:pt idx="11">
                  <c:v>28.643216080402013</c:v>
                </c:pt>
                <c:pt idx="12">
                  <c:v>97.989949748743726</c:v>
                </c:pt>
                <c:pt idx="13">
                  <c:v>28.643216080402013</c:v>
                </c:pt>
                <c:pt idx="14">
                  <c:v>98.492462311557787</c:v>
                </c:pt>
                <c:pt idx="15">
                  <c:v>29.145728643216078</c:v>
                </c:pt>
                <c:pt idx="16">
                  <c:v>97.989949748743726</c:v>
                </c:pt>
                <c:pt idx="17">
                  <c:v>27.1356783919598</c:v>
                </c:pt>
                <c:pt idx="18">
                  <c:v>98.492462311557787</c:v>
                </c:pt>
                <c:pt idx="19">
                  <c:v>28.643216080402013</c:v>
                </c:pt>
                <c:pt idx="20">
                  <c:v>98.994974874371849</c:v>
                </c:pt>
                <c:pt idx="21">
                  <c:v>28.643216080402013</c:v>
                </c:pt>
                <c:pt idx="22">
                  <c:v>98.492462311557787</c:v>
                </c:pt>
                <c:pt idx="23">
                  <c:v>29.145728643216078</c:v>
                </c:pt>
                <c:pt idx="24">
                  <c:v>98.49246231155778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00D2-41D8-AF4A-443D8140C8E5}"/>
            </c:ext>
          </c:extLst>
        </c:ser>
        <c:ser>
          <c:idx val="1"/>
          <c:order val="1"/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R$21:$AP$21</c:f>
              <c:numCache>
                <c:formatCode>General</c:formatCode>
                <c:ptCount val="25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  <c:pt idx="5">
                  <c:v>2.5</c:v>
                </c:pt>
                <c:pt idx="6">
                  <c:v>3</c:v>
                </c:pt>
                <c:pt idx="7">
                  <c:v>3.5</c:v>
                </c:pt>
                <c:pt idx="8">
                  <c:v>4</c:v>
                </c:pt>
                <c:pt idx="9">
                  <c:v>4.5</c:v>
                </c:pt>
                <c:pt idx="10">
                  <c:v>5</c:v>
                </c:pt>
                <c:pt idx="11">
                  <c:v>5.5</c:v>
                </c:pt>
                <c:pt idx="12">
                  <c:v>6</c:v>
                </c:pt>
                <c:pt idx="13">
                  <c:v>6.5</c:v>
                </c:pt>
                <c:pt idx="14">
                  <c:v>7</c:v>
                </c:pt>
                <c:pt idx="15">
                  <c:v>7.5</c:v>
                </c:pt>
                <c:pt idx="16">
                  <c:v>8</c:v>
                </c:pt>
                <c:pt idx="17">
                  <c:v>8.5</c:v>
                </c:pt>
                <c:pt idx="18">
                  <c:v>9</c:v>
                </c:pt>
                <c:pt idx="19">
                  <c:v>9.5</c:v>
                </c:pt>
                <c:pt idx="20">
                  <c:v>10</c:v>
                </c:pt>
                <c:pt idx="21">
                  <c:v>10.5</c:v>
                </c:pt>
                <c:pt idx="22">
                  <c:v>11</c:v>
                </c:pt>
                <c:pt idx="23">
                  <c:v>11.5</c:v>
                </c:pt>
                <c:pt idx="24">
                  <c:v>12</c:v>
                </c:pt>
              </c:numCache>
            </c:numRef>
          </c:xVal>
          <c:yVal>
            <c:numRef>
              <c:f>Sheet1!$R$23:$AL$23</c:f>
              <c:numCache>
                <c:formatCode>General</c:formatCode>
                <c:ptCount val="21"/>
                <c:pt idx="0">
                  <c:v>100</c:v>
                </c:pt>
                <c:pt idx="1">
                  <c:v>28.643216080402013</c:v>
                </c:pt>
                <c:pt idx="2">
                  <c:v>99.497487437185924</c:v>
                </c:pt>
                <c:pt idx="3">
                  <c:v>29.145728643216078</c:v>
                </c:pt>
                <c:pt idx="4">
                  <c:v>99.497487437185924</c:v>
                </c:pt>
                <c:pt idx="5">
                  <c:v>29.145728643216078</c:v>
                </c:pt>
                <c:pt idx="6">
                  <c:v>100</c:v>
                </c:pt>
                <c:pt idx="7">
                  <c:v>29.145728643216078</c:v>
                </c:pt>
                <c:pt idx="8">
                  <c:v>98.994974874371849</c:v>
                </c:pt>
                <c:pt idx="9">
                  <c:v>29.145728643216078</c:v>
                </c:pt>
                <c:pt idx="10">
                  <c:v>98.994974874371849</c:v>
                </c:pt>
                <c:pt idx="11">
                  <c:v>28.643216080402013</c:v>
                </c:pt>
                <c:pt idx="12">
                  <c:v>97.989949748743726</c:v>
                </c:pt>
                <c:pt idx="13">
                  <c:v>28.643216080402013</c:v>
                </c:pt>
                <c:pt idx="14">
                  <c:v>98.492462311557787</c:v>
                </c:pt>
                <c:pt idx="15">
                  <c:v>29.145728643216078</c:v>
                </c:pt>
                <c:pt idx="16">
                  <c:v>97.989949748743726</c:v>
                </c:pt>
                <c:pt idx="17">
                  <c:v>27.1356783919598</c:v>
                </c:pt>
                <c:pt idx="18">
                  <c:v>98.492462311557787</c:v>
                </c:pt>
                <c:pt idx="19">
                  <c:v>28.643216080402013</c:v>
                </c:pt>
                <c:pt idx="20">
                  <c:v>98.99497487437184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00D2-41D8-AF4A-443D8140C8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3099064"/>
        <c:axId val="553106280"/>
      </c:scatterChart>
      <c:valAx>
        <c:axId val="553099064"/>
        <c:scaling>
          <c:orientation val="minMax"/>
          <c:max val="13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53106280"/>
        <c:crosses val="autoZero"/>
        <c:crossBetween val="midCat"/>
      </c:valAx>
      <c:valAx>
        <c:axId val="553106280"/>
        <c:scaling>
          <c:orientation val="minMax"/>
          <c:max val="11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5309906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9E0A91-41BB-4851-AE6C-16903B76021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454D53-32CA-4B34-A05F-67B6E32957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914F0-6D72-404F-B47B-9D88B0494081}" type="datetimeFigureOut">
              <a:rPr lang="de-DE" smtClean="0"/>
              <a:t>26.05.20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AAC8398-A2B3-4D54-BC35-0E80DE4D70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DAB587-FA44-4336-B11E-83E5705ED2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B32210-F3C3-4D44-8D5B-288AAEFAE10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52326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26B25D-0D93-4698-BC20-07F10F781801}" type="datetimeFigureOut">
              <a:rPr lang="de-DE" smtClean="0"/>
              <a:t>26.05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CE5A7E-662E-4092-92D4-FEFF268D9E3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2565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2766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78152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097577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6CE5A7E-662E-4092-92D4-FEFF268D9E3E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36419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1.xml"/><Relationship Id="rId7" Type="http://schemas.openxmlformats.org/officeDocument/2006/relationships/image" Target="../media/image3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3.xml"/><Relationship Id="rId7" Type="http://schemas.openxmlformats.org/officeDocument/2006/relationships/image" Target="../media/image5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5.xml"/><Relationship Id="rId7" Type="http://schemas.openxmlformats.org/officeDocument/2006/relationships/image" Target="../media/image6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7.jp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7.xml"/><Relationship Id="rId7" Type="http://schemas.openxmlformats.org/officeDocument/2006/relationships/image" Target="../media/image8.jpe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3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F62BB54-9E74-4073-B5B8-25A0DDC01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54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F62BB54-9E74-4073-B5B8-25A0DDC01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6BD4750-C10D-44A8-9459-858D99CD01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98259268-9714-44CC-A2C7-58556D4CF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0A316F3-A2DE-46B4-92AA-BF11BC6F5FF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3950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5E039-43B5-47F3-B6B5-2744629A926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10593E6C-41FC-4FD7-8446-AE6BF8007EAA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DA597B-3437-4983-ADA1-C0A2EFFC6D5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0760B3-7C3D-4AA1-95E9-A5AE83B9C75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707BF-C0FF-4488-BFC1-DCE99B0B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2189124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DB96936-4807-4578-8EB2-6ECD168BF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640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DB96936-4807-4578-8EB2-6ECD168BF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441FDCE-2983-41C6-8A78-57C9BD2AA6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021945-EBAC-4159-B471-51C2B877105D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F05EA4-D3CA-42BD-BE16-DE4F10B14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3953175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24FB37B-3025-4DE4-9926-B6DFCC0B1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59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24FB37B-3025-4DE4-9926-B6DFCC0B1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A53803A-858A-4ABA-ACA8-350C72736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2FBF6A0-2A98-4272-801F-E5E5C8A9330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521F19F4-0081-405A-9FFC-547D935336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638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1EDF6C2-AA7D-4F89-A67F-8717496E07C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6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1396492-B460-420D-A8AE-A4D8D0B3E3F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276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94FCE-EA73-4DB0-937D-9A915FCEC15D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EF5BD2D1-6604-482B-B501-CC3B55774AD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638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3CABFA-1BF9-438F-8452-5E6A60B02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363251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557" userDrawn="1">
          <p15:clr>
            <a:srgbClr val="FBAE40"/>
          </p15:clr>
        </p15:guide>
        <p15:guide id="4" pos="511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B8858-BE68-45D3-85B8-E29225001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A9B8756-11FE-405C-8D6C-37D3DDBC3E2C}" type="datetime1">
              <a:rPr lang="de-DE" smtClean="0"/>
              <a:t>26.05.2020</a:t>
            </a:fld>
            <a:endParaRPr lang="de-DE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9FB5F028-43A6-4D7C-8B4B-3F98FB5C43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77334" y="5809170"/>
            <a:ext cx="11641200" cy="197609"/>
          </a:xfrm>
        </p:spPr>
        <p:txBody>
          <a:bodyPr wrap="square" tIns="72000" anchor="t">
            <a:spAutoFit/>
          </a:bodyPr>
          <a:lstStyle>
            <a:lvl1pPr>
              <a:defRPr sz="800" b="0" cap="none" baseline="0">
                <a:solidFill>
                  <a:schemeClr val="accent3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14084035"/>
      </p:ext>
    </p:extLst>
  </p:cSld>
  <p:clrMapOvr>
    <a:masterClrMapping/>
  </p:clrMapOvr>
  <p:transition spd="slow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2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AD7F90E6-3BDD-4127-A591-FB9A16C20794}" type="datetime1">
              <a:rPr lang="de-DE" smtClean="0"/>
              <a:t>26.05.2020</a:t>
            </a:fld>
            <a:endParaRPr lang="de-DE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E8182E1-0AC6-4F46-B3FB-54439F2539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476252"/>
            <a:ext cx="5508625" cy="5213349"/>
          </a:xfrm>
        </p:spPr>
        <p:txBody>
          <a:bodyPr rIns="180000"/>
          <a:lstStyle>
            <a:lvl1pPr>
              <a:defRPr lang="de-DE" sz="237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3">
              <a:defRPr spc="0" baseline="0"/>
            </a:lvl4pPr>
            <a:lvl5pPr marL="432005">
              <a:defRPr spc="0" baseline="0"/>
            </a:lvl5pPr>
          </a:lstStyle>
          <a:p>
            <a:pPr marL="0" lvl="0" indent="0" algn="l" defTabSz="914411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Symbol" panose="05050102010706020507" pitchFamily="18" charset="2"/>
              <a:buNone/>
            </a:pPr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D5F0C98-01AE-4680-B001-041FC84E5D8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77334" y="5809170"/>
            <a:ext cx="11641200" cy="197609"/>
          </a:xfrm>
        </p:spPr>
        <p:txBody>
          <a:bodyPr wrap="square" tIns="72000" anchor="t">
            <a:spAutoFit/>
          </a:bodyPr>
          <a:lstStyle>
            <a:lvl1pPr>
              <a:defRPr sz="800" b="0" cap="none" baseline="0">
                <a:solidFill>
                  <a:schemeClr val="accent3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69738436"/>
      </p:ext>
    </p:extLst>
  </p:cSld>
  <p:clrMapOvr>
    <a:masterClrMapping/>
  </p:clrMapOvr>
  <p:transition spd="slow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128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9FB246E-D7EE-4147-9A45-30F05107B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67" name="Hintergrund blau">
            <a:extLst>
              <a:ext uri="{FF2B5EF4-FFF2-40B4-BE49-F238E27FC236}">
                <a16:creationId xmlns:a16="http://schemas.microsoft.com/office/drawing/2014/main" id="{92D1A1E9-30AB-4CF9-B3D9-540CC04A2F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DF5D34B-0283-4D01-B492-5FEAE9C035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C82C160E-FC3B-4FBE-84E5-B08BEC955C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142B85D0-9930-4319-9E1B-DD931A54862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9C20286-D593-4B2B-B683-725975CE8B44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1A2743B-26C2-4B8D-AD43-6666A2B4D5A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F35B8C0-9C04-4560-8FB5-E53FFE69EB0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024590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3" grpId="0" build="p"/>
      <p:bldP spid="2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7CE700-B116-4ED5-95C6-B3F23A7E5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89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7CE700-B116-4ED5-95C6-B3F23A7E5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105401-669D-4E45-A66B-FA4B2B560C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9FB246E-D7EE-4147-9A45-30F05107B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83A1F15-D191-49B1-929B-1F0218123F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20BE90D-534B-4E9E-A877-631D9D827E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03E5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noProof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6B5D94AD-F196-49BF-AF5D-11ED7A329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54B83628-2DB9-46D3-8D97-3DE0C3FD1D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6EFA8792-8BE1-48F6-ACBE-6158CAE8FC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C5C72A7-4B37-48C7-BEDB-DF28A9C7051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531A92B2-EE80-43AC-96ED-EDFEDB25B27C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EBD694B-19DE-4F6D-81FC-47A652AC98C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088B4CF-ECF2-4FF0-A5C3-9D1CAB2FADB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7665109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19" grpId="0" animBg="1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C2A8C6-B441-40FC-9250-FBB47A9A5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0567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C2A8C6-B441-40FC-9250-FBB47A9A5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D6F123-2534-43D7-9298-3B0E442945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9FB246E-D7EE-4147-9A45-30F05107B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3200" cy="6858000"/>
          </a:xfrm>
          <a:prstGeom prst="rect">
            <a:avLst/>
          </a:prstGeom>
        </p:spPr>
      </p:pic>
      <p:sp>
        <p:nvSpPr>
          <p:cNvPr id="17" name="Untertitel 2">
            <a:extLst>
              <a:ext uri="{FF2B5EF4-FFF2-40B4-BE49-F238E27FC236}">
                <a16:creationId xmlns:a16="http://schemas.microsoft.com/office/drawing/2014/main" id="{5BEC224B-75E7-410D-B373-AEA0179A6A1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 vert="horz" lIns="0" tIns="0" rIns="0" bIns="0" rtlCol="0">
            <a:normAutofit/>
          </a:bodyPr>
          <a:lstStyle>
            <a:lvl1pPr>
              <a:defRPr lang="de-DE" sz="2800" spc="0" dirty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53" name="Titel 1">
            <a:extLst>
              <a:ext uri="{FF2B5EF4-FFF2-40B4-BE49-F238E27FC236}">
                <a16:creationId xmlns:a16="http://schemas.microsoft.com/office/drawing/2014/main" id="{AFC30694-614C-45F9-A9ED-5A81EA283C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4" name="Textplatzhalter 5">
            <a:extLst>
              <a:ext uri="{FF2B5EF4-FFF2-40B4-BE49-F238E27FC236}">
                <a16:creationId xmlns:a16="http://schemas.microsoft.com/office/drawing/2014/main" id="{5BD2FC0D-BF93-4F92-8698-C94AFDF869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A5DB804-4D21-48EA-A600-F74C3E6D5B3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AB26BC-7592-4A20-B1E1-877F3E015C5F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4D9970F-1246-407F-9F9B-72679F0D296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6331929-055E-4676-ADFE-811B0D55437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5" name="bk object 16">
            <a:extLst>
              <a:ext uri="{FF2B5EF4-FFF2-40B4-BE49-F238E27FC236}">
                <a16:creationId xmlns:a16="http://schemas.microsoft.com/office/drawing/2014/main" id="{2EDE51F4-9FE3-4855-AE57-3CFA209A2F17}"/>
              </a:ext>
            </a:extLst>
          </p:cNvPr>
          <p:cNvSpPr/>
          <p:nvPr userDrawn="1"/>
        </p:nvSpPr>
        <p:spPr>
          <a:xfrm>
            <a:off x="0" y="0"/>
            <a:ext cx="12192000" cy="6857998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bk object 17">
            <a:extLst>
              <a:ext uri="{FF2B5EF4-FFF2-40B4-BE49-F238E27FC236}">
                <a16:creationId xmlns:a16="http://schemas.microsoft.com/office/drawing/2014/main" id="{D6F3AA98-7811-4935-98F6-EAE228CFF4F6}"/>
              </a:ext>
            </a:extLst>
          </p:cNvPr>
          <p:cNvSpPr/>
          <p:nvPr userDrawn="1"/>
        </p:nvSpPr>
        <p:spPr>
          <a:xfrm>
            <a:off x="0" y="1523"/>
            <a:ext cx="868680" cy="6858000"/>
          </a:xfrm>
          <a:custGeom>
            <a:avLst/>
            <a:gdLst/>
            <a:ahLst/>
            <a:cxnLst/>
            <a:rect l="l" t="t" r="r" b="b"/>
            <a:pathLst>
              <a:path w="868680" h="6858000">
                <a:moveTo>
                  <a:pt x="0" y="6858000"/>
                </a:moveTo>
                <a:lnTo>
                  <a:pt x="868680" y="6858000"/>
                </a:lnTo>
                <a:lnTo>
                  <a:pt x="86868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49C8E2">
              <a:alpha val="5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bk object 18">
            <a:extLst>
              <a:ext uri="{FF2B5EF4-FFF2-40B4-BE49-F238E27FC236}">
                <a16:creationId xmlns:a16="http://schemas.microsoft.com/office/drawing/2014/main" id="{366DB7A1-1684-414A-8054-9FBCFEE4DF2C}"/>
              </a:ext>
            </a:extLst>
          </p:cNvPr>
          <p:cNvSpPr/>
          <p:nvPr userDrawn="1"/>
        </p:nvSpPr>
        <p:spPr>
          <a:xfrm>
            <a:off x="8077200" y="0"/>
            <a:ext cx="4114800" cy="6858000"/>
          </a:xfrm>
          <a:custGeom>
            <a:avLst/>
            <a:gdLst/>
            <a:ahLst/>
            <a:cxnLst/>
            <a:rect l="l" t="t" r="r" b="b"/>
            <a:pathLst>
              <a:path w="4114800" h="6858000">
                <a:moveTo>
                  <a:pt x="0" y="6858000"/>
                </a:moveTo>
                <a:lnTo>
                  <a:pt x="4114800" y="6858000"/>
                </a:lnTo>
                <a:lnTo>
                  <a:pt x="41148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49C8E2">
              <a:alpha val="5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bk object 19">
            <a:extLst>
              <a:ext uri="{FF2B5EF4-FFF2-40B4-BE49-F238E27FC236}">
                <a16:creationId xmlns:a16="http://schemas.microsoft.com/office/drawing/2014/main" id="{C2AE7F5A-BF61-4BB8-B7E0-3159A36FDDE3}"/>
              </a:ext>
            </a:extLst>
          </p:cNvPr>
          <p:cNvSpPr/>
          <p:nvPr userDrawn="1"/>
        </p:nvSpPr>
        <p:spPr>
          <a:xfrm>
            <a:off x="8077200" y="0"/>
            <a:ext cx="4114800" cy="6858000"/>
          </a:xfrm>
          <a:custGeom>
            <a:avLst/>
            <a:gdLst/>
            <a:ahLst/>
            <a:cxnLst/>
            <a:rect l="l" t="t" r="r" b="b"/>
            <a:pathLst>
              <a:path w="4114800" h="6858000">
                <a:moveTo>
                  <a:pt x="0" y="6858000"/>
                </a:moveTo>
                <a:lnTo>
                  <a:pt x="4114800" y="6858000"/>
                </a:lnTo>
                <a:lnTo>
                  <a:pt x="41148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>
              <a:alpha val="3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bk object 20">
            <a:extLst>
              <a:ext uri="{FF2B5EF4-FFF2-40B4-BE49-F238E27FC236}">
                <a16:creationId xmlns:a16="http://schemas.microsoft.com/office/drawing/2014/main" id="{45D1DDEB-25A3-4823-BEA4-8889BD1533A9}"/>
              </a:ext>
            </a:extLst>
          </p:cNvPr>
          <p:cNvSpPr/>
          <p:nvPr userDrawn="1"/>
        </p:nvSpPr>
        <p:spPr>
          <a:xfrm>
            <a:off x="868680" y="0"/>
            <a:ext cx="7208520" cy="6858000"/>
          </a:xfrm>
          <a:custGeom>
            <a:avLst/>
            <a:gdLst/>
            <a:ahLst/>
            <a:cxnLst/>
            <a:rect l="l" t="t" r="r" b="b"/>
            <a:pathLst>
              <a:path w="7208520" h="6858000">
                <a:moveTo>
                  <a:pt x="0" y="6858000"/>
                </a:moveTo>
                <a:lnTo>
                  <a:pt x="7208520" y="6858000"/>
                </a:lnTo>
                <a:lnTo>
                  <a:pt x="720852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7397">
              <a:alpha val="50195"/>
            </a:srgbClr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524144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25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D1D8688-A76A-4F84-A12E-91B13B8864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769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D1D8688-A76A-4F84-A12E-91B13B8864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EC11A87-EFC9-4ABF-BCA6-EF0491C8EB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9FB246E-D7EE-4147-9A45-30F05107B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00" y="0"/>
            <a:ext cx="12193200" cy="685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83A1F15-D191-49B1-929B-1F0218123F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BC80ADB3-A155-44CA-A145-0645A0E40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F3611A6-C50B-4FCF-A816-1150939218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FB0D66A4-F0C9-4ED7-84E1-29B894AB87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9F13F57-FA30-43A4-9FC5-8B33E90519F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1CE06D0-9B31-48C8-8F3E-2DE57993A52A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CCF7DB-0AE4-43B4-991C-B7221375D63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639EA25-BB82-4147-8B93-2E5840184E0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157937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6500" fill="hold"/>
                                        <p:tgtEl>
                                          <p:spTgt spid="2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958A507-DAFA-42BF-8849-C3CB4289A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07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958A507-DAFA-42BF-8849-C3CB4289A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02DE261-04CD-4B94-BD88-3E91949FEA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ot">
            <a:extLst>
              <a:ext uri="{FF2B5EF4-FFF2-40B4-BE49-F238E27FC236}">
                <a16:creationId xmlns:a16="http://schemas.microsoft.com/office/drawing/2014/main" id="{CB574361-3B97-4389-9DE0-5B25DFE5D667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9" name="hellrot">
            <a:extLst>
              <a:ext uri="{FF2B5EF4-FFF2-40B4-BE49-F238E27FC236}">
                <a16:creationId xmlns:a16="http://schemas.microsoft.com/office/drawing/2014/main" id="{C6366DF7-9E3E-4DFD-BC00-8921066868C2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E03E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0" name="dunkelrot">
            <a:extLst>
              <a:ext uri="{FF2B5EF4-FFF2-40B4-BE49-F238E27FC236}">
                <a16:creationId xmlns:a16="http://schemas.microsoft.com/office/drawing/2014/main" id="{49C62A64-95AD-449A-AE83-8769CF5416E3}"/>
              </a:ext>
            </a:extLst>
          </p:cNvPr>
          <p:cNvSpPr/>
          <p:nvPr userDrawn="1"/>
        </p:nvSpPr>
        <p:spPr>
          <a:xfrm>
            <a:off x="-600" y="0"/>
            <a:ext cx="121932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1" name="rot">
            <a:extLst>
              <a:ext uri="{FF2B5EF4-FFF2-40B4-BE49-F238E27FC236}">
                <a16:creationId xmlns:a16="http://schemas.microsoft.com/office/drawing/2014/main" id="{74E6412B-E7DD-4AF8-A8F2-7131EEA7149B}"/>
              </a:ext>
            </a:extLst>
          </p:cNvPr>
          <p:cNvSpPr/>
          <p:nvPr userDrawn="1"/>
        </p:nvSpPr>
        <p:spPr>
          <a:xfrm>
            <a:off x="-120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6D9BA064-8BEC-4E18-9E5F-8638A855F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D6484004-B62C-415E-B446-0AE6DF1C13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F2F5208C-51E6-4F23-8234-0200112DC9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58276C-8F50-4E94-A96F-0308E870FC5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31AAAEA-042F-49EB-904A-407190D8AFCC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669D468-A275-4423-AF53-61CDB4C3AD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AB8D5B4-19A7-4BE3-9674-FB22FF655CC9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728168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4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4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4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Image placeho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4A1571-31A7-4DD8-ABA6-4621A4E6C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849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4A1571-31A7-4DD8-ABA6-4621A4E6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C28AF1-92A1-468C-B1F6-04E7F64F14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BFA8B18D-0993-4FE7-94F1-3D50CD3196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7999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AA0A45D0-BDC6-47F2-9430-5D76DAC38F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648A982-41A3-4CBB-9D63-DEE0243A798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ED8A4C2-E435-45AE-958F-30AE00D7744D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5347DE4-598F-479D-97B8-954C35723E9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135A0FB-EF81-42E4-88DD-BC5EEA77035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58735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9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51874F-67F5-42E4-934A-9B7E96BC2D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8631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51874F-67F5-42E4-934A-9B7E96BC2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44B671-E447-4191-8505-43D101A81B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265B5FEF-D611-49E4-9D72-DA783A54B82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A898B81-B02E-471C-8D0D-F085819E62F9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915E5C5-0F3C-40B6-AE60-181785B7E6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C4F4A70-2809-4CD1-9143-651E3C7A55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B89318-A586-4C32-A8CF-CBF1D042A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3302016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C00460-B3CB-4570-89E6-0E2BEAED7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16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C00460-B3CB-4570-89E6-0E2BEAED7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7DD112-0CE0-4C90-A8A6-710CBF7530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AB05F9C-BC44-4723-9206-5F426E4BA32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98606" y="524356"/>
            <a:ext cx="1543624" cy="5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6046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9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476251"/>
            <a:ext cx="3600000" cy="5616574"/>
          </a:xfrm>
        </p:spPr>
        <p:txBody>
          <a:bodyPr rIns="1800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61420F3-19DB-4EBB-9B72-2C5128A48971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40897783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561">
          <p15:clr>
            <a:srgbClr val="FBAE40"/>
          </p15:clr>
        </p15:guide>
        <p15:guide id="3" pos="511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0A741E-6018-49E9-B756-97FF3C8EB2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0A741E-6018-49E9-B756-97FF3C8EB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9668B7-F416-4A25-8559-DF9C5F2C4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31A2D5-E60C-4BB0-A0CC-A5FB2C716A40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147BF4-3128-449E-826A-B3A1941E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8459592"/>
      </p:ext>
    </p:extLst>
  </p:cSld>
  <p:clrMapOvr>
    <a:masterClrMapping/>
  </p:clrMapOvr>
  <p:transition spd="slow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51874F-67F5-42E4-934A-9B7E96BC2D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51874F-67F5-42E4-934A-9B7E96BC2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44B671-E447-4191-8505-43D101A81B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265B5FEF-D611-49E4-9D72-DA783A54B82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9F6ACA-541A-4611-BF73-5A5116CCCEF2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915E5C5-0F3C-40B6-AE60-181785B7E6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C4F4A70-2809-4CD1-9143-651E3C7A55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B89318-A586-4C32-A8CF-CBF1D042A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35964639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47F837E3-A352-47C5-896C-79CE216855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2939F39-7DD4-4E64-A133-19DB5D21D962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CD2D3E1-BF04-49BA-9ABD-16507134B3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10596DF-A0CD-4CBF-B29B-072B676B80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044969805"/>
      </p:ext>
    </p:extLst>
  </p:cSld>
  <p:clrMapOvr>
    <a:masterClrMapping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0A741E-6018-49E9-B756-97FF3C8EB2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0A741E-6018-49E9-B756-97FF3C8EB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9668B7-F416-4A25-8559-DF9C5F2C4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64CC6FC-B57D-4662-A430-42783918FB2A}" type="datetime1">
              <a:rPr lang="en-US" noProof="0" smtClean="0"/>
              <a:t>5/26/2020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Brand Plan Template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147BF4-3128-449E-826A-B3A1941E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127BAC69-BA92-4B29-90AE-BFBE5F8F5A8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9425" y="131763"/>
            <a:ext cx="9869488" cy="239712"/>
          </a:xfrm>
        </p:spPr>
        <p:txBody>
          <a:bodyPr anchor="ctr"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Chapter title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D4664F-72C0-473B-BF49-D7FBB3A4D46C}"/>
              </a:ext>
            </a:extLst>
          </p:cNvPr>
          <p:cNvSpPr txBox="1"/>
          <p:nvPr userDrawn="1"/>
        </p:nvSpPr>
        <p:spPr bwMode="auto">
          <a:xfrm>
            <a:off x="2458237" y="59195"/>
            <a:ext cx="7275525" cy="21544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400">
                <a:solidFill>
                  <a:schemeClr val="bg2"/>
                </a:solidFill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382123471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lnSpc>
                <a:spcPct val="105000"/>
              </a:lnSpc>
              <a:defRPr sz="1600" baseline="0"/>
            </a:lvl1pPr>
            <a:lvl2pPr marL="355600" indent="-177800">
              <a:lnSpc>
                <a:spcPct val="105000"/>
              </a:lnSpc>
              <a:buClr>
                <a:schemeClr val="tx1"/>
              </a:buClr>
              <a:defRPr sz="1600"/>
            </a:lvl2pPr>
            <a:lvl3pPr marL="533400" indent="-177800">
              <a:lnSpc>
                <a:spcPct val="105000"/>
              </a:lnSpc>
              <a:defRPr sz="1600" baseline="0"/>
            </a:lvl3pPr>
            <a:lvl4pPr marL="723900" indent="-190500">
              <a:lnSpc>
                <a:spcPct val="105000"/>
              </a:lnSpc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DD65B4-5D28-7E4B-AEDA-E58EA25409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8" hasCustomPrompt="1"/>
          </p:nvPr>
        </p:nvSpPr>
        <p:spPr>
          <a:xfrm>
            <a:off x="182587" y="6422742"/>
            <a:ext cx="11119031" cy="2736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sz="900"/>
            </a:lvl1pPr>
          </a:lstStyle>
          <a:p>
            <a:pPr marL="0" marR="0" lvl="0" indent="0" algn="l" defTabSz="914400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noProof="0"/>
              <a:t>Click to edit Footer styl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0014716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24FB37B-3025-4DE4-9926-B6DFCC0B1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24FB37B-3025-4DE4-9926-B6DFCC0B1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A53803A-858A-4ABA-ACA8-350C72736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2FBF6A0-2A98-4272-801F-E5E5C8A9330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521F19F4-0081-405A-9FFC-547D935336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638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1EDF6C2-AA7D-4F89-A67F-8717496E07C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6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1396492-B460-420D-A8AE-A4D8D0B3E3F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276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75C911-6110-4132-9715-90F3EA8ED5E0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EF5BD2D1-6604-482B-B501-CC3B55774AD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638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3CABFA-1BF9-438F-8452-5E6A60B02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0595854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557">
          <p15:clr>
            <a:srgbClr val="FBAE40"/>
          </p15:clr>
        </p15:guide>
        <p15:guide id="4" pos="511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Des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5" descr="140902_NB_Wallpaper_designingforlife_1920x1080px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073"/>
          <a:stretch>
            <a:fillRect/>
          </a:stretch>
        </p:blipFill>
        <p:spPr bwMode="auto">
          <a:xfrm>
            <a:off x="-1588" y="2301876"/>
            <a:ext cx="12206290" cy="559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objekt 10" descr="Nobel Biocare logo jpg color med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97815" y="242888"/>
            <a:ext cx="1617874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27053" y="687614"/>
            <a:ext cx="11137900" cy="1316038"/>
          </a:xfrm>
        </p:spPr>
        <p:txBody>
          <a:bodyPr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27053" y="2420942"/>
            <a:ext cx="11137900" cy="4103687"/>
          </a:xfrm>
        </p:spPr>
        <p:txBody>
          <a:bodyPr/>
          <a:lstStyle>
            <a:lvl1pPr marL="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600" cap="none" baseline="0">
                <a:solidFill>
                  <a:schemeClr val="tx1"/>
                </a:solidFill>
              </a:defRPr>
            </a:lvl1pPr>
            <a:lvl2pPr marL="179388" indent="0">
              <a:lnSpc>
                <a:spcPct val="120000"/>
              </a:lnSpc>
              <a:buClr>
                <a:schemeClr val="tx1"/>
              </a:buClr>
              <a:buNone/>
              <a:defRPr sz="1600"/>
            </a:lvl2pPr>
            <a:lvl3pPr marL="35560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68998" y="2286000"/>
            <a:ext cx="2880375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394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Designing for Life Produc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5" descr="140902_NB_Wallpaper_designingforlife_1920x1080px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703"/>
          <a:stretch>
            <a:fillRect/>
          </a:stretch>
        </p:blipFill>
        <p:spPr bwMode="auto">
          <a:xfrm>
            <a:off x="-1588" y="2276476"/>
            <a:ext cx="12206290" cy="562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27053" y="687614"/>
            <a:ext cx="11137900" cy="1316038"/>
          </a:xfrm>
        </p:spPr>
        <p:txBody>
          <a:bodyPr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27053" y="2420942"/>
            <a:ext cx="11137900" cy="4103687"/>
          </a:xfrm>
        </p:spPr>
        <p:txBody>
          <a:bodyPr/>
          <a:lstStyle>
            <a:lvl1pPr marL="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600" cap="none" baseline="0">
                <a:solidFill>
                  <a:schemeClr val="tx1"/>
                </a:solidFill>
              </a:defRPr>
            </a:lvl1pPr>
            <a:lvl2pPr marL="179388" indent="0">
              <a:lnSpc>
                <a:spcPct val="120000"/>
              </a:lnSpc>
              <a:buClr>
                <a:schemeClr val="tx1"/>
              </a:buClr>
              <a:buNone/>
              <a:defRPr sz="1600"/>
            </a:lvl2pPr>
            <a:lvl3pPr marL="35560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latshållare för bild 2"/>
          <p:cNvSpPr>
            <a:spLocks noGrp="1"/>
          </p:cNvSpPr>
          <p:nvPr>
            <p:ph type="pic" sz="quarter" idx="10" hasCustomPrompt="1"/>
          </p:nvPr>
        </p:nvSpPr>
        <p:spPr>
          <a:xfrm>
            <a:off x="7998929" y="2863851"/>
            <a:ext cx="2138640" cy="3024339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en-US" noProof="0"/>
              <a:t>Image</a:t>
            </a:r>
          </a:p>
        </p:txBody>
      </p:sp>
      <p:pic>
        <p:nvPicPr>
          <p:cNvPr id="8" name="Bildobjekt 10" descr="Nobel Biocare logo jpg color med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97815" y="242888"/>
            <a:ext cx="1617874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4761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47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03949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C5514F3-818D-451F-AFB8-4AEBBEB2E2EC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665453"/>
      </p:ext>
    </p:extLst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Lear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073"/>
          <a:stretch>
            <a:fillRect/>
          </a:stretch>
        </p:blipFill>
        <p:spPr bwMode="auto">
          <a:xfrm>
            <a:off x="-1588" y="2301876"/>
            <a:ext cx="12206290" cy="559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Bildobjekt 1" descr="140730_NB_PX_01_0151_TBI_14100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6897" y="2464085"/>
            <a:ext cx="4260282" cy="4133746"/>
          </a:xfrm>
          <a:prstGeom prst="rect">
            <a:avLst/>
          </a:prstGeom>
        </p:spPr>
      </p:pic>
      <p:sp>
        <p:nvSpPr>
          <p:cNvPr id="512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27053" y="687614"/>
            <a:ext cx="11137900" cy="1316038"/>
          </a:xfrm>
        </p:spPr>
        <p:txBody>
          <a:bodyPr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27052" y="2420942"/>
            <a:ext cx="11140151" cy="4103687"/>
          </a:xfrm>
        </p:spPr>
        <p:txBody>
          <a:bodyPr/>
          <a:lstStyle>
            <a:lvl1pPr marL="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600" cap="none" baseline="0">
                <a:solidFill>
                  <a:schemeClr val="tx1"/>
                </a:solidFill>
              </a:defRPr>
            </a:lvl1pPr>
            <a:lvl2pPr marL="179388" indent="0">
              <a:lnSpc>
                <a:spcPct val="120000"/>
              </a:lnSpc>
              <a:buClr>
                <a:schemeClr val="tx1"/>
              </a:buClr>
              <a:buNone/>
              <a:defRPr sz="1600"/>
            </a:lvl2pPr>
            <a:lvl3pPr marL="35560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Bildobjekt 10" descr="Nobel Biocare logo jpg color med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97815" y="242888"/>
            <a:ext cx="1617874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2301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Partn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073"/>
          <a:stretch>
            <a:fillRect/>
          </a:stretch>
        </p:blipFill>
        <p:spPr bwMode="auto">
          <a:xfrm>
            <a:off x="-1588" y="2301876"/>
            <a:ext cx="12206290" cy="559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objekt 7" descr="140731_NB_ST_02_0024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27369" y="2343150"/>
            <a:ext cx="3650137" cy="4745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27053" y="687614"/>
            <a:ext cx="11137900" cy="1316038"/>
          </a:xfrm>
        </p:spPr>
        <p:txBody>
          <a:bodyPr/>
          <a:lstStyle>
            <a:lvl1pPr>
              <a:defRPr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27053" y="2420942"/>
            <a:ext cx="11137900" cy="4103687"/>
          </a:xfrm>
        </p:spPr>
        <p:txBody>
          <a:bodyPr/>
          <a:lstStyle>
            <a:lvl1pPr marL="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600" cap="none" baseline="0">
                <a:solidFill>
                  <a:schemeClr val="tx1"/>
                </a:solidFill>
              </a:defRPr>
            </a:lvl1pPr>
            <a:lvl2pPr marL="179388" indent="0">
              <a:lnSpc>
                <a:spcPct val="120000"/>
              </a:lnSpc>
              <a:buClr>
                <a:schemeClr val="tx1"/>
              </a:buClr>
              <a:buNone/>
              <a:defRPr sz="1600"/>
            </a:lvl2pPr>
            <a:lvl3pPr marL="35560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Bildobjekt 10" descr="Nobel Biocare logo jpg color med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97815" y="242888"/>
            <a:ext cx="1617874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0164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Text Designing for Li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5" descr="140902_NB_Wallpaper_designingforlife_1920x1080px.eps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8703" b="47201"/>
          <a:stretch/>
        </p:blipFill>
        <p:spPr bwMode="auto">
          <a:xfrm>
            <a:off x="-1588" y="5089646"/>
            <a:ext cx="12206290" cy="17683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744" y="274639"/>
            <a:ext cx="10274049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239745" y="1571625"/>
            <a:ext cx="11712512" cy="439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pic>
        <p:nvPicPr>
          <p:cNvPr id="7" name="Bildobjekt 12" descr="Nobel Biocare logo jpg color med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99658" y="419101"/>
            <a:ext cx="90499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11341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Text Learning for Li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074" b="47250"/>
          <a:stretch/>
        </p:blipFill>
        <p:spPr bwMode="auto">
          <a:xfrm>
            <a:off x="-1588" y="5103376"/>
            <a:ext cx="12206290" cy="17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744" y="274639"/>
            <a:ext cx="10274049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239745" y="1571625"/>
            <a:ext cx="11712512" cy="439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pic>
        <p:nvPicPr>
          <p:cNvPr id="6" name="Bildobjekt 12" descr="Nobel Biocare logo jpg color med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99658" y="419101"/>
            <a:ext cx="90499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6810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Text Partnering for Lif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074" b="47250"/>
          <a:stretch/>
        </p:blipFill>
        <p:spPr bwMode="auto">
          <a:xfrm>
            <a:off x="-1588" y="5103376"/>
            <a:ext cx="12206290" cy="1754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744" y="274639"/>
            <a:ext cx="10274049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239745" y="1571625"/>
            <a:ext cx="11712512" cy="439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pic>
        <p:nvPicPr>
          <p:cNvPr id="6" name="Bildobjekt 12" descr="Nobel Biocare logo jpg color med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99658" y="419101"/>
            <a:ext cx="90499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4091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 &amp;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27053" y="687614"/>
            <a:ext cx="11137900" cy="1316038"/>
          </a:xfr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527053" y="2420942"/>
            <a:ext cx="11137900" cy="4103687"/>
          </a:xfrm>
        </p:spPr>
        <p:txBody>
          <a:bodyPr/>
          <a:lstStyle>
            <a:lvl1pPr marL="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400" cap="none" baseline="0">
                <a:solidFill>
                  <a:srgbClr val="BFBFBF"/>
                </a:solidFill>
              </a:defRPr>
            </a:lvl1pPr>
            <a:lvl2pPr marL="179388" indent="0">
              <a:lnSpc>
                <a:spcPct val="120000"/>
              </a:lnSpc>
              <a:buClr>
                <a:schemeClr val="tx1"/>
              </a:buClr>
              <a:buNone/>
              <a:defRPr sz="1600"/>
            </a:lvl2pPr>
            <a:lvl3pPr marL="355600" indent="0">
              <a:lnSpc>
                <a:spcPct val="120000"/>
              </a:lnSpc>
              <a:buClr>
                <a:schemeClr val="tx1"/>
              </a:buClr>
              <a:buFont typeface="Symbol" pitchFamily="18" charset="2"/>
              <a:buNone/>
              <a:defRPr sz="1600"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Bildobjekt 12" descr="Nobel Biocare logo jpg color me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99658" y="419101"/>
            <a:ext cx="90499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4250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lnSpc>
                <a:spcPct val="105000"/>
              </a:lnSpc>
              <a:defRPr sz="1600" baseline="0"/>
            </a:lvl1pPr>
            <a:lvl2pPr marL="355600" indent="-177800">
              <a:lnSpc>
                <a:spcPct val="105000"/>
              </a:lnSpc>
              <a:buClr>
                <a:schemeClr val="tx1"/>
              </a:buClr>
              <a:defRPr sz="1600"/>
            </a:lvl2pPr>
            <a:lvl3pPr marL="533400" indent="-177800">
              <a:lnSpc>
                <a:spcPct val="105000"/>
              </a:lnSpc>
              <a:defRPr sz="1600" baseline="0"/>
            </a:lvl3pPr>
            <a:lvl4pPr marL="723900" indent="-190500">
              <a:lnSpc>
                <a:spcPct val="105000"/>
              </a:lnSpc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9567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Folie" r:id="rId4" imgW="413" imgH="416" progId="TCLayout.ActiveDocument.1">
                  <p:embed/>
                </p:oleObj>
              </mc:Choice>
              <mc:Fallback>
                <p:oleObj name="think-cell Folie" r:id="rId4" imgW="413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239186" y="1571397"/>
            <a:ext cx="5755216" cy="4392612"/>
          </a:xfrm>
        </p:spPr>
        <p:txBody>
          <a:bodyPr/>
          <a:lstStyle>
            <a:lvl1pPr>
              <a:lnSpc>
                <a:spcPct val="105000"/>
              </a:lnSpc>
              <a:buClr>
                <a:schemeClr val="tx1"/>
              </a:buClr>
              <a:defRPr sz="1600"/>
            </a:lvl1pPr>
            <a:lvl2pPr marL="357188" indent="-177800">
              <a:lnSpc>
                <a:spcPct val="105000"/>
              </a:lnSpc>
              <a:buClr>
                <a:schemeClr val="tx1"/>
              </a:buClr>
              <a:defRPr sz="1600"/>
            </a:lvl2pPr>
            <a:lvl3pPr marL="536575" indent="-179388">
              <a:buClr>
                <a:schemeClr val="tx1"/>
              </a:buClr>
              <a:defRPr sz="1600" baseline="0"/>
            </a:lvl3pPr>
            <a:lvl4pPr marL="723900" indent="-187325">
              <a:buClr>
                <a:schemeClr val="tx1"/>
              </a:buClr>
              <a:defRPr sz="1600"/>
            </a:lvl4pPr>
            <a:lvl5pPr marL="893763" indent="-179388">
              <a:buClr>
                <a:schemeClr val="tx1"/>
              </a:buCl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1" y="1571397"/>
            <a:ext cx="5755217" cy="4392612"/>
          </a:xfrm>
        </p:spPr>
        <p:txBody>
          <a:bodyPr/>
          <a:lstStyle>
            <a:lvl1pPr>
              <a:lnSpc>
                <a:spcPct val="105000"/>
              </a:lnSpc>
              <a:buClr>
                <a:schemeClr val="tx1"/>
              </a:buClr>
              <a:defRPr sz="1600"/>
            </a:lvl1pPr>
            <a:lvl2pPr marL="357188" indent="-177800">
              <a:lnSpc>
                <a:spcPct val="105000"/>
              </a:lnSpc>
              <a:buClr>
                <a:schemeClr val="tx1"/>
              </a:buClr>
              <a:defRPr sz="1600"/>
            </a:lvl2pPr>
            <a:lvl3pPr marL="536575" indent="-179388">
              <a:lnSpc>
                <a:spcPct val="105000"/>
              </a:lnSpc>
              <a:buClr>
                <a:schemeClr val="tx1"/>
              </a:buClr>
              <a:defRPr sz="1600"/>
            </a:lvl3pPr>
            <a:lvl4pPr marL="714375" indent="-177800">
              <a:lnSpc>
                <a:spcPct val="105000"/>
              </a:lnSpc>
              <a:buClr>
                <a:schemeClr val="tx1"/>
              </a:buClr>
              <a:defRPr sz="1600"/>
            </a:lvl4pPr>
            <a:lvl5pPr marL="893763" indent="-179388">
              <a:lnSpc>
                <a:spcPct val="105000"/>
              </a:lnSpc>
              <a:buClr>
                <a:schemeClr val="tx1"/>
              </a:buCl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</p:txBody>
      </p:sp>
      <p:sp>
        <p:nvSpPr>
          <p:cNvPr id="7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9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369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wo columns 2line header_on_rounded_grey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med rundade hörn 6"/>
          <p:cNvSpPr/>
          <p:nvPr userDrawn="1"/>
        </p:nvSpPr>
        <p:spPr>
          <a:xfrm>
            <a:off x="6504834" y="1954213"/>
            <a:ext cx="5504579" cy="4419600"/>
          </a:xfrm>
          <a:prstGeom prst="roundRect">
            <a:avLst>
              <a:gd name="adj" fmla="val 3151"/>
            </a:avLst>
          </a:prstGeom>
          <a:solidFill>
            <a:srgbClr val="E6E6E6"/>
          </a:solidFill>
          <a:ln>
            <a:noFill/>
          </a:ln>
          <a:effectLst>
            <a:outerShdw blurRad="107950" dist="50800" dir="27000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3200" tIns="43200" rIns="18000" bIns="18000"/>
          <a:lstStyle/>
          <a:p>
            <a:pPr marL="182563" indent="-182563" algn="ctr">
              <a:lnSpc>
                <a:spcPct val="105000"/>
              </a:lnSpc>
              <a:buFont typeface="Symbol" pitchFamily="18" charset="2"/>
              <a:buChar char="-"/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Rektangel med rundade hörn 7"/>
          <p:cNvSpPr/>
          <p:nvPr userDrawn="1"/>
        </p:nvSpPr>
        <p:spPr>
          <a:xfrm>
            <a:off x="257209" y="1954213"/>
            <a:ext cx="5502991" cy="4419600"/>
          </a:xfrm>
          <a:prstGeom prst="roundRect">
            <a:avLst>
              <a:gd name="adj" fmla="val 3151"/>
            </a:avLst>
          </a:prstGeom>
          <a:solidFill>
            <a:srgbClr val="E6E6E6"/>
          </a:solidFill>
          <a:ln>
            <a:noFill/>
          </a:ln>
          <a:effectLst>
            <a:outerShdw blurRad="107950" dist="50800" dir="27000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3200" tIns="43200" rIns="18000" bIns="18000"/>
          <a:lstStyle/>
          <a:p>
            <a:pPr marL="182563" indent="-182563" algn="ctr">
              <a:lnSpc>
                <a:spcPct val="105000"/>
              </a:lnSpc>
              <a:buFont typeface="Symbol" pitchFamily="18" charset="2"/>
              <a:buChar char="-"/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Platshållare för text 13"/>
          <p:cNvSpPr>
            <a:spLocks noGrp="1"/>
          </p:cNvSpPr>
          <p:nvPr>
            <p:ph type="body" sz="quarter" idx="12" hasCustomPrompt="1"/>
          </p:nvPr>
        </p:nvSpPr>
        <p:spPr>
          <a:xfrm>
            <a:off x="244832" y="1581000"/>
            <a:ext cx="5512130" cy="374650"/>
          </a:xfrm>
        </p:spPr>
        <p:txBody>
          <a:bodyPr/>
          <a:lstStyle>
            <a:lvl1pPr marL="0" indent="0">
              <a:buFontTx/>
              <a:buNone/>
              <a:defRPr sz="1400" b="1" i="0">
                <a:solidFill>
                  <a:srgbClr val="CC0000"/>
                </a:solidFill>
              </a:defRPr>
            </a:lvl1pPr>
            <a:lvl2pPr marL="1587" indent="0">
              <a:buFontTx/>
              <a:buNone/>
              <a:defRPr>
                <a:solidFill>
                  <a:srgbClr val="CC0000"/>
                </a:solidFill>
              </a:defRPr>
            </a:lvl2pPr>
            <a:lvl3pPr marL="182562" indent="0">
              <a:buFontTx/>
              <a:buNone/>
              <a:defRPr>
                <a:solidFill>
                  <a:srgbClr val="CC0000"/>
                </a:solidFill>
              </a:defRPr>
            </a:lvl3pPr>
            <a:lvl4pPr marL="354012" indent="0">
              <a:buFontTx/>
              <a:buNone/>
              <a:defRPr>
                <a:solidFill>
                  <a:srgbClr val="CC0000"/>
                </a:solidFill>
              </a:defRPr>
            </a:lvl4pPr>
            <a:lvl5pPr marL="544512" indent="0">
              <a:buFontTx/>
              <a:buNone/>
              <a:defRPr>
                <a:solidFill>
                  <a:srgbClr val="CC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latshållare för innehåll 7"/>
          <p:cNvSpPr>
            <a:spLocks noGrp="1"/>
          </p:cNvSpPr>
          <p:nvPr>
            <p:ph sz="quarter" idx="15" hasCustomPrompt="1"/>
          </p:nvPr>
        </p:nvSpPr>
        <p:spPr>
          <a:xfrm>
            <a:off x="6503023" y="1562100"/>
            <a:ext cx="5335001" cy="368300"/>
          </a:xfrm>
        </p:spPr>
        <p:txBody>
          <a:bodyPr/>
          <a:lstStyle>
            <a:lvl1pPr marL="0" indent="0">
              <a:buFontTx/>
              <a:buNone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latshållare för text 14"/>
          <p:cNvSpPr>
            <a:spLocks noGrp="1"/>
          </p:cNvSpPr>
          <p:nvPr>
            <p:ph type="body" sz="quarter" idx="16" hasCustomPrompt="1"/>
          </p:nvPr>
        </p:nvSpPr>
        <p:spPr>
          <a:xfrm>
            <a:off x="403277" y="2195514"/>
            <a:ext cx="5152109" cy="40481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latshållare för text 14"/>
          <p:cNvSpPr>
            <a:spLocks noGrp="1"/>
          </p:cNvSpPr>
          <p:nvPr>
            <p:ph type="body" sz="quarter" idx="17" hasCustomPrompt="1"/>
          </p:nvPr>
        </p:nvSpPr>
        <p:spPr>
          <a:xfrm>
            <a:off x="6658781" y="2195514"/>
            <a:ext cx="5152109" cy="40481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Rubrik 1"/>
          <p:cNvSpPr>
            <a:spLocks noGrp="1"/>
          </p:cNvSpPr>
          <p:nvPr>
            <p:ph type="title" hasCustomPrompt="1"/>
          </p:nvPr>
        </p:nvSpPr>
        <p:spPr>
          <a:xfrm>
            <a:off x="239744" y="274639"/>
            <a:ext cx="10274049" cy="777875"/>
          </a:xfr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11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17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95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tshållare för text 13"/>
          <p:cNvSpPr>
            <a:spLocks noGrp="1"/>
          </p:cNvSpPr>
          <p:nvPr>
            <p:ph type="body" sz="quarter" idx="12" hasCustomPrompt="1"/>
          </p:nvPr>
        </p:nvSpPr>
        <p:spPr>
          <a:xfrm>
            <a:off x="403278" y="1581000"/>
            <a:ext cx="5512130" cy="374650"/>
          </a:xfrm>
        </p:spPr>
        <p:txBody>
          <a:bodyPr/>
          <a:lstStyle>
            <a:lvl1pPr marL="0" indent="0">
              <a:buFontTx/>
              <a:buNone/>
              <a:defRPr sz="1400" b="1" i="0">
                <a:solidFill>
                  <a:srgbClr val="CC0000"/>
                </a:solidFill>
              </a:defRPr>
            </a:lvl1pPr>
            <a:lvl2pPr marL="1587" indent="0">
              <a:buFontTx/>
              <a:buNone/>
              <a:defRPr>
                <a:solidFill>
                  <a:srgbClr val="CC0000"/>
                </a:solidFill>
              </a:defRPr>
            </a:lvl2pPr>
            <a:lvl3pPr marL="182562" indent="0">
              <a:buFontTx/>
              <a:buNone/>
              <a:defRPr>
                <a:solidFill>
                  <a:srgbClr val="CC0000"/>
                </a:solidFill>
              </a:defRPr>
            </a:lvl3pPr>
            <a:lvl4pPr marL="354012" indent="0">
              <a:buFontTx/>
              <a:buNone/>
              <a:defRPr>
                <a:solidFill>
                  <a:srgbClr val="CC0000"/>
                </a:solidFill>
              </a:defRPr>
            </a:lvl4pPr>
            <a:lvl5pPr marL="544512" indent="0">
              <a:buFontTx/>
              <a:buNone/>
              <a:defRPr>
                <a:solidFill>
                  <a:srgbClr val="CC0000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Platshållare för text 14"/>
          <p:cNvSpPr>
            <a:spLocks noGrp="1"/>
          </p:cNvSpPr>
          <p:nvPr>
            <p:ph type="body" sz="quarter" idx="16" hasCustomPrompt="1"/>
          </p:nvPr>
        </p:nvSpPr>
        <p:spPr>
          <a:xfrm>
            <a:off x="403277" y="2195514"/>
            <a:ext cx="5152109" cy="4048125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239744" y="274639"/>
            <a:ext cx="10274049" cy="777875"/>
          </a:xfr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8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10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41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D536AB-C999-4AE1-B600-8E88F1824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530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2D536AB-C999-4AE1-B600-8E88F1824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F73D4F-BA64-453A-BF3A-360ED3B41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62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5CC9C9F-47FD-492D-9A6E-4201CAFC57F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121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1CFB193C-DF32-4D57-AEAA-25DDA42E88FC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F25103-6B92-4A7E-878E-E6358C34A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550029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2701" userDrawn="1">
          <p15:clr>
            <a:srgbClr val="FBAE40"/>
          </p15:clr>
        </p15:guide>
        <p15:guide id="2" pos="2576" userDrawn="1">
          <p15:clr>
            <a:srgbClr val="FBAE40"/>
          </p15:clr>
        </p15:guide>
        <p15:guide id="3" pos="4982" userDrawn="1">
          <p15:clr>
            <a:srgbClr val="FBAE40"/>
          </p15:clr>
        </p15:guide>
        <p15:guide id="4" pos="5106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&amp;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239184" y="1573213"/>
            <a:ext cx="3840000" cy="4392612"/>
          </a:xfrm>
        </p:spPr>
        <p:txBody>
          <a:bodyPr/>
          <a:lstStyle>
            <a:lvl1pPr>
              <a:lnSpc>
                <a:spcPct val="105000"/>
              </a:lnSpc>
              <a:buClr>
                <a:schemeClr val="tx1"/>
              </a:buClr>
              <a:defRPr sz="1600" baseline="0"/>
            </a:lvl1pPr>
            <a:lvl2pPr marL="357188" indent="-177800">
              <a:lnSpc>
                <a:spcPct val="105000"/>
              </a:lnSpc>
              <a:buClr>
                <a:schemeClr val="tx1"/>
              </a:buClr>
              <a:defRPr sz="1600" baseline="0"/>
            </a:lvl2pPr>
            <a:lvl3pPr marL="536575" indent="-179388">
              <a:buClr>
                <a:schemeClr val="tx1"/>
              </a:buClr>
              <a:defRPr sz="1600"/>
            </a:lvl3pPr>
            <a:lvl4pPr marL="714375" indent="-177800">
              <a:buClr>
                <a:schemeClr val="tx1"/>
              </a:buClr>
              <a:defRPr sz="1600"/>
            </a:lvl4pPr>
            <a:lvl5pPr marL="893763" indent="-179388">
              <a:buClr>
                <a:schemeClr val="tx1"/>
              </a:buCl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234209" y="1573213"/>
            <a:ext cx="3840000" cy="4392612"/>
          </a:xfrm>
        </p:spPr>
        <p:txBody>
          <a:bodyPr/>
          <a:lstStyle>
            <a:lvl1pPr>
              <a:lnSpc>
                <a:spcPct val="105000"/>
              </a:lnSpc>
              <a:buClr>
                <a:schemeClr val="tx1"/>
              </a:buClr>
              <a:defRPr sz="1600"/>
            </a:lvl1pPr>
            <a:lvl2pPr marL="357188" indent="-177800">
              <a:lnSpc>
                <a:spcPct val="105000"/>
              </a:lnSpc>
              <a:buClr>
                <a:schemeClr val="tx1"/>
              </a:buClr>
              <a:defRPr sz="1600"/>
            </a:lvl2pPr>
            <a:lvl3pPr marL="536575" indent="-179388">
              <a:lnSpc>
                <a:spcPct val="105000"/>
              </a:lnSpc>
              <a:buClr>
                <a:schemeClr val="tx1"/>
              </a:buClr>
              <a:defRPr sz="1600"/>
            </a:lvl3pPr>
            <a:lvl4pPr marL="714375" indent="-177800">
              <a:lnSpc>
                <a:spcPct val="105000"/>
              </a:lnSpc>
              <a:buClr>
                <a:schemeClr val="tx1"/>
              </a:buClr>
              <a:defRPr sz="1600"/>
            </a:lvl4pPr>
            <a:lvl5pPr marL="893763" indent="-179388">
              <a:lnSpc>
                <a:spcPct val="105000"/>
              </a:lnSpc>
              <a:buClr>
                <a:schemeClr val="tx1"/>
              </a:buCl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</p:txBody>
      </p:sp>
      <p:sp>
        <p:nvSpPr>
          <p:cNvPr id="7" name="Platshållare för innehåll 3"/>
          <p:cNvSpPr>
            <a:spLocks noGrp="1"/>
          </p:cNvSpPr>
          <p:nvPr>
            <p:ph sz="half" idx="12" hasCustomPrompt="1"/>
          </p:nvPr>
        </p:nvSpPr>
        <p:spPr>
          <a:xfrm>
            <a:off x="8229233" y="1573213"/>
            <a:ext cx="3840000" cy="4392612"/>
          </a:xfrm>
        </p:spPr>
        <p:txBody>
          <a:bodyPr/>
          <a:lstStyle>
            <a:lvl1pPr>
              <a:lnSpc>
                <a:spcPct val="105000"/>
              </a:lnSpc>
              <a:buClr>
                <a:schemeClr val="tx1"/>
              </a:buClr>
              <a:defRPr sz="1600"/>
            </a:lvl1pPr>
            <a:lvl2pPr marL="357188" indent="-177800">
              <a:lnSpc>
                <a:spcPct val="105000"/>
              </a:lnSpc>
              <a:buClr>
                <a:schemeClr val="tx1"/>
              </a:buClr>
              <a:defRPr sz="1600"/>
            </a:lvl2pPr>
            <a:lvl3pPr marL="536575" indent="-179388">
              <a:lnSpc>
                <a:spcPct val="105000"/>
              </a:lnSpc>
              <a:buClr>
                <a:schemeClr val="tx1"/>
              </a:buClr>
              <a:defRPr sz="1600"/>
            </a:lvl3pPr>
            <a:lvl4pPr marL="714375" indent="-177800">
              <a:lnSpc>
                <a:spcPct val="105000"/>
              </a:lnSpc>
              <a:buClr>
                <a:schemeClr val="tx1"/>
              </a:buClr>
              <a:defRPr sz="1600"/>
            </a:lvl4pPr>
            <a:lvl5pPr marL="893763" indent="-179388">
              <a:lnSpc>
                <a:spcPct val="105000"/>
              </a:lnSpc>
              <a:buClr>
                <a:schemeClr val="tx1"/>
              </a:buCl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</p:txBody>
      </p:sp>
      <p:sp>
        <p:nvSpPr>
          <p:cNvPr id="9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10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927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Folie" r:id="rId4" imgW="413" imgH="416" progId="TCLayout.ActiveDocument.1">
                  <p:embed/>
                </p:oleObj>
              </mc:Choice>
              <mc:Fallback>
                <p:oleObj name="think-cell Folie" r:id="rId4" imgW="413" imgH="4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5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7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466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hree grey ar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med rundade hörn 12"/>
          <p:cNvSpPr/>
          <p:nvPr userDrawn="1"/>
        </p:nvSpPr>
        <p:spPr>
          <a:xfrm>
            <a:off x="269910" y="1482726"/>
            <a:ext cx="7146268" cy="1439863"/>
          </a:xfrm>
          <a:prstGeom prst="roundRect">
            <a:avLst>
              <a:gd name="adj" fmla="val 7002"/>
            </a:avLst>
          </a:prstGeom>
          <a:solidFill>
            <a:srgbClr val="E6E6E6"/>
          </a:solidFill>
          <a:ln>
            <a:noFill/>
          </a:ln>
          <a:effectLst>
            <a:outerShdw blurRad="107950" dist="50800" dir="27000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3200" tIns="43200" rIns="18000" bIns="18000"/>
          <a:lstStyle/>
          <a:p>
            <a:pPr marL="182563" indent="-182563" algn="ctr">
              <a:lnSpc>
                <a:spcPct val="105000"/>
              </a:lnSpc>
              <a:buFont typeface="Symbol" pitchFamily="18" charset="2"/>
              <a:buChar char="-"/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" name="Rektangel med rundade hörn 13"/>
          <p:cNvSpPr/>
          <p:nvPr userDrawn="1"/>
        </p:nvSpPr>
        <p:spPr>
          <a:xfrm>
            <a:off x="269910" y="3185390"/>
            <a:ext cx="7146268" cy="1441450"/>
          </a:xfrm>
          <a:prstGeom prst="roundRect">
            <a:avLst>
              <a:gd name="adj" fmla="val 7002"/>
            </a:avLst>
          </a:prstGeom>
          <a:solidFill>
            <a:srgbClr val="E6E6E6"/>
          </a:solidFill>
          <a:ln>
            <a:noFill/>
          </a:ln>
          <a:effectLst>
            <a:outerShdw blurRad="107950" dist="50800" dir="27000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3200" tIns="43200" rIns="18000" bIns="18000"/>
          <a:lstStyle/>
          <a:p>
            <a:pPr marL="182563" indent="-182563" algn="ctr">
              <a:lnSpc>
                <a:spcPct val="105000"/>
              </a:lnSpc>
              <a:buFont typeface="Symbol" pitchFamily="18" charset="2"/>
              <a:buChar char="-"/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Rektangel med rundade hörn 14"/>
          <p:cNvSpPr/>
          <p:nvPr userDrawn="1"/>
        </p:nvSpPr>
        <p:spPr>
          <a:xfrm>
            <a:off x="263559" y="4862656"/>
            <a:ext cx="7146268" cy="1439863"/>
          </a:xfrm>
          <a:prstGeom prst="roundRect">
            <a:avLst>
              <a:gd name="adj" fmla="val 7002"/>
            </a:avLst>
          </a:prstGeom>
          <a:solidFill>
            <a:srgbClr val="E6E6E6"/>
          </a:solidFill>
          <a:ln>
            <a:noFill/>
          </a:ln>
          <a:effectLst>
            <a:outerShdw blurRad="107950" dist="50800" dir="2700000" algn="tl" rotWithShape="0">
              <a:schemeClr val="tx1">
                <a:alpha val="30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43200" tIns="43200" rIns="18000" bIns="18000"/>
          <a:lstStyle/>
          <a:p>
            <a:pPr marL="182563" indent="-182563" algn="ctr">
              <a:lnSpc>
                <a:spcPct val="105000"/>
              </a:lnSpc>
              <a:buFont typeface="Symbol" pitchFamily="18" charset="2"/>
              <a:buChar char="-"/>
              <a:defRPr/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Platshållare för bild 11"/>
          <p:cNvSpPr>
            <a:spLocks noGrp="1"/>
          </p:cNvSpPr>
          <p:nvPr>
            <p:ph type="pic" sz="quarter" idx="12" hasCustomPrompt="1"/>
          </p:nvPr>
        </p:nvSpPr>
        <p:spPr>
          <a:xfrm>
            <a:off x="7620556" y="1500950"/>
            <a:ext cx="4571444" cy="5357051"/>
          </a:xfrm>
        </p:spPr>
        <p:txBody>
          <a:bodyPr/>
          <a:lstStyle/>
          <a:p>
            <a:pPr lvl="0"/>
            <a:r>
              <a:rPr lang="en-US" noProof="0"/>
              <a:t>Image</a:t>
            </a:r>
          </a:p>
        </p:txBody>
      </p:sp>
      <p:sp>
        <p:nvSpPr>
          <p:cNvPr id="25" name="Rubrik 1"/>
          <p:cNvSpPr>
            <a:spLocks noGrp="1"/>
          </p:cNvSpPr>
          <p:nvPr>
            <p:ph type="title" hasCustomPrompt="1"/>
          </p:nvPr>
        </p:nvSpPr>
        <p:spPr>
          <a:xfrm>
            <a:off x="239744" y="274639"/>
            <a:ext cx="10274049" cy="777875"/>
          </a:xfr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27" name="Platshållare för bild 13"/>
          <p:cNvSpPr>
            <a:spLocks noGrp="1"/>
          </p:cNvSpPr>
          <p:nvPr>
            <p:ph type="pic" sz="quarter" idx="13" hasCustomPrompt="1"/>
          </p:nvPr>
        </p:nvSpPr>
        <p:spPr>
          <a:xfrm>
            <a:off x="4574924" y="1587500"/>
            <a:ext cx="2719105" cy="1257300"/>
          </a:xfrm>
        </p:spPr>
        <p:txBody>
          <a:bodyPr/>
          <a:lstStyle/>
          <a:p>
            <a:pPr lvl="0"/>
            <a:r>
              <a:rPr lang="en-US" noProof="0"/>
              <a:t>Image</a:t>
            </a:r>
          </a:p>
        </p:txBody>
      </p:sp>
      <p:sp>
        <p:nvSpPr>
          <p:cNvPr id="28" name="Platshållare för text 21"/>
          <p:cNvSpPr>
            <a:spLocks noGrp="1"/>
          </p:cNvSpPr>
          <p:nvPr>
            <p:ph type="body" sz="quarter" idx="16" hasCustomPrompt="1"/>
          </p:nvPr>
        </p:nvSpPr>
        <p:spPr>
          <a:xfrm>
            <a:off x="1207553" y="1587500"/>
            <a:ext cx="3161166" cy="1270000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rgbClr val="CC0000"/>
                </a:solidFill>
              </a:defRPr>
            </a:lvl1pPr>
            <a:lvl2pPr marL="1587" indent="0">
              <a:buFontTx/>
              <a:buNone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</p:txBody>
      </p:sp>
      <p:sp>
        <p:nvSpPr>
          <p:cNvPr id="31" name="Platshållare för bild 13"/>
          <p:cNvSpPr>
            <a:spLocks noGrp="1"/>
          </p:cNvSpPr>
          <p:nvPr>
            <p:ph type="pic" sz="quarter" idx="29" hasCustomPrompt="1"/>
          </p:nvPr>
        </p:nvSpPr>
        <p:spPr>
          <a:xfrm>
            <a:off x="4575131" y="3290441"/>
            <a:ext cx="2719105" cy="1257300"/>
          </a:xfrm>
        </p:spPr>
        <p:txBody>
          <a:bodyPr/>
          <a:lstStyle/>
          <a:p>
            <a:pPr lvl="0"/>
            <a:r>
              <a:rPr lang="en-US" noProof="0"/>
              <a:t>Image</a:t>
            </a:r>
          </a:p>
        </p:txBody>
      </p:sp>
      <p:sp>
        <p:nvSpPr>
          <p:cNvPr id="32" name="Platshållare för text 21"/>
          <p:cNvSpPr>
            <a:spLocks noGrp="1"/>
          </p:cNvSpPr>
          <p:nvPr>
            <p:ph type="body" sz="quarter" idx="30" hasCustomPrompt="1"/>
          </p:nvPr>
        </p:nvSpPr>
        <p:spPr>
          <a:xfrm>
            <a:off x="1207760" y="3290441"/>
            <a:ext cx="3161166" cy="1270000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rgbClr val="CC0000"/>
                </a:solidFill>
              </a:defRPr>
            </a:lvl1pPr>
            <a:lvl2pPr marL="1587" indent="0">
              <a:buFontTx/>
              <a:buNone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</p:txBody>
      </p:sp>
      <p:sp>
        <p:nvSpPr>
          <p:cNvPr id="35" name="Platshållare för bild 13"/>
          <p:cNvSpPr>
            <a:spLocks noGrp="1"/>
          </p:cNvSpPr>
          <p:nvPr>
            <p:ph type="pic" sz="quarter" idx="32" hasCustomPrompt="1"/>
          </p:nvPr>
        </p:nvSpPr>
        <p:spPr>
          <a:xfrm>
            <a:off x="4568716" y="4966819"/>
            <a:ext cx="2719105" cy="1257300"/>
          </a:xfrm>
        </p:spPr>
        <p:txBody>
          <a:bodyPr/>
          <a:lstStyle/>
          <a:p>
            <a:pPr lvl="0"/>
            <a:r>
              <a:rPr lang="en-US" noProof="0"/>
              <a:t>Image</a:t>
            </a:r>
          </a:p>
        </p:txBody>
      </p:sp>
      <p:sp>
        <p:nvSpPr>
          <p:cNvPr id="36" name="Platshållare för text 21"/>
          <p:cNvSpPr>
            <a:spLocks noGrp="1"/>
          </p:cNvSpPr>
          <p:nvPr>
            <p:ph type="body" sz="quarter" idx="33" hasCustomPrompt="1"/>
          </p:nvPr>
        </p:nvSpPr>
        <p:spPr>
          <a:xfrm>
            <a:off x="1201345" y="4966819"/>
            <a:ext cx="3161166" cy="1270000"/>
          </a:xfrm>
        </p:spPr>
        <p:txBody>
          <a:bodyPr/>
          <a:lstStyle>
            <a:lvl1pPr marL="0" indent="0">
              <a:buFontTx/>
              <a:buNone/>
              <a:defRPr sz="1200">
                <a:solidFill>
                  <a:srgbClr val="CC0000"/>
                </a:solidFill>
              </a:defRPr>
            </a:lvl1pPr>
            <a:lvl2pPr marL="1587" indent="0">
              <a:buFontTx/>
              <a:buNone/>
              <a:defRPr sz="1200"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</p:txBody>
      </p:sp>
      <p:sp>
        <p:nvSpPr>
          <p:cNvPr id="20" name="Platshållare för text 25"/>
          <p:cNvSpPr>
            <a:spLocks noGrp="1" noChangeAspect="1"/>
          </p:cNvSpPr>
          <p:nvPr>
            <p:ph type="body" sz="quarter" idx="39" hasCustomPrompt="1"/>
          </p:nvPr>
        </p:nvSpPr>
        <p:spPr>
          <a:xfrm>
            <a:off x="421212" y="1986656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21" name="Platshållare för text 25"/>
          <p:cNvSpPr>
            <a:spLocks noGrp="1" noChangeAspect="1"/>
          </p:cNvSpPr>
          <p:nvPr>
            <p:ph type="body" sz="quarter" idx="40" hasCustomPrompt="1"/>
          </p:nvPr>
        </p:nvSpPr>
        <p:spPr>
          <a:xfrm>
            <a:off x="421212" y="3690115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2" name="Platshållare för text 25"/>
          <p:cNvSpPr>
            <a:spLocks noGrp="1" noChangeAspect="1"/>
          </p:cNvSpPr>
          <p:nvPr>
            <p:ph type="body" sz="quarter" idx="41" hasCustomPrompt="1"/>
          </p:nvPr>
        </p:nvSpPr>
        <p:spPr>
          <a:xfrm>
            <a:off x="421212" y="5366586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18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23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485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47"/>
          <p:cNvCxnSpPr/>
          <p:nvPr userDrawn="1"/>
        </p:nvCxnSpPr>
        <p:spPr>
          <a:xfrm flipV="1">
            <a:off x="3048397" y="2451101"/>
            <a:ext cx="0" cy="3965574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48"/>
          <p:cNvCxnSpPr/>
          <p:nvPr userDrawn="1"/>
        </p:nvCxnSpPr>
        <p:spPr>
          <a:xfrm flipV="1">
            <a:off x="9146779" y="2451103"/>
            <a:ext cx="0" cy="3965573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47"/>
          <p:cNvCxnSpPr/>
          <p:nvPr userDrawn="1"/>
        </p:nvCxnSpPr>
        <p:spPr>
          <a:xfrm flipV="1">
            <a:off x="6096794" y="2451103"/>
            <a:ext cx="0" cy="3965573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ubrik 1"/>
          <p:cNvSpPr>
            <a:spLocks noGrp="1"/>
          </p:cNvSpPr>
          <p:nvPr>
            <p:ph type="title" hasCustomPrompt="1"/>
          </p:nvPr>
        </p:nvSpPr>
        <p:spPr>
          <a:xfrm>
            <a:off x="239744" y="274639"/>
            <a:ext cx="10274049" cy="777875"/>
          </a:xfr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28" name="Platshållare för bild 8"/>
          <p:cNvSpPr>
            <a:spLocks noGrp="1"/>
          </p:cNvSpPr>
          <p:nvPr>
            <p:ph type="pic" sz="quarter" idx="12" hasCustomPrompt="1"/>
          </p:nvPr>
        </p:nvSpPr>
        <p:spPr>
          <a:xfrm>
            <a:off x="165121" y="5527384"/>
            <a:ext cx="2718354" cy="8255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/>
              <a:t>Image</a:t>
            </a:r>
          </a:p>
        </p:txBody>
      </p:sp>
      <p:sp>
        <p:nvSpPr>
          <p:cNvPr id="29" name="Platshållare för text 26"/>
          <p:cNvSpPr>
            <a:spLocks noGrp="1"/>
          </p:cNvSpPr>
          <p:nvPr>
            <p:ph type="body" sz="quarter" idx="22" hasCustomPrompt="1"/>
          </p:nvPr>
        </p:nvSpPr>
        <p:spPr>
          <a:xfrm>
            <a:off x="152420" y="1981200"/>
            <a:ext cx="2718354" cy="330200"/>
          </a:xfrm>
        </p:spPr>
        <p:txBody>
          <a:bodyPr/>
          <a:lstStyle>
            <a:lvl1pPr marL="0" indent="0" algn="ctr">
              <a:buFontTx/>
              <a:buNone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latshållare för text 2"/>
          <p:cNvSpPr>
            <a:spLocks noGrp="1"/>
          </p:cNvSpPr>
          <p:nvPr>
            <p:ph type="body" sz="quarter" idx="34" hasCustomPrompt="1"/>
          </p:nvPr>
        </p:nvSpPr>
        <p:spPr>
          <a:xfrm>
            <a:off x="155697" y="2441679"/>
            <a:ext cx="2718354" cy="2954235"/>
          </a:xfrm>
        </p:spPr>
        <p:txBody>
          <a:bodyPr/>
          <a:lstStyle>
            <a:lvl1pPr>
              <a:defRPr sz="1200"/>
            </a:lvl1pPr>
            <a:lvl2pPr>
              <a:lnSpc>
                <a:spcPct val="105000"/>
              </a:lnSpc>
              <a:buClr>
                <a:schemeClr val="tx1"/>
              </a:buClr>
              <a:defRPr sz="1000"/>
            </a:lvl2pPr>
            <a:lvl3pPr>
              <a:defRPr sz="1000"/>
            </a:lvl3pPr>
            <a:lvl4pPr marL="354012" indent="0">
              <a:buNone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latshållare för bild 8"/>
          <p:cNvSpPr>
            <a:spLocks noGrp="1"/>
          </p:cNvSpPr>
          <p:nvPr>
            <p:ph type="pic" sz="quarter" idx="35" hasCustomPrompt="1"/>
          </p:nvPr>
        </p:nvSpPr>
        <p:spPr>
          <a:xfrm>
            <a:off x="3231567" y="5527384"/>
            <a:ext cx="2718354" cy="8255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/>
              <a:t>Image</a:t>
            </a:r>
          </a:p>
        </p:txBody>
      </p:sp>
      <p:sp>
        <p:nvSpPr>
          <p:cNvPr id="33" name="Platshållare för text 26"/>
          <p:cNvSpPr>
            <a:spLocks noGrp="1"/>
          </p:cNvSpPr>
          <p:nvPr>
            <p:ph type="body" sz="quarter" idx="36" hasCustomPrompt="1"/>
          </p:nvPr>
        </p:nvSpPr>
        <p:spPr>
          <a:xfrm>
            <a:off x="3218865" y="1981200"/>
            <a:ext cx="2718354" cy="330200"/>
          </a:xfrm>
        </p:spPr>
        <p:txBody>
          <a:bodyPr/>
          <a:lstStyle>
            <a:lvl1pPr marL="0" indent="0" algn="ctr">
              <a:buFontTx/>
              <a:buNone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latshållare för text 2"/>
          <p:cNvSpPr>
            <a:spLocks noGrp="1"/>
          </p:cNvSpPr>
          <p:nvPr>
            <p:ph type="body" sz="quarter" idx="38" hasCustomPrompt="1"/>
          </p:nvPr>
        </p:nvSpPr>
        <p:spPr>
          <a:xfrm>
            <a:off x="3222142" y="2441679"/>
            <a:ext cx="2718354" cy="2954235"/>
          </a:xfrm>
        </p:spPr>
        <p:txBody>
          <a:bodyPr/>
          <a:lstStyle>
            <a:lvl1pPr>
              <a:defRPr sz="1200"/>
            </a:lvl1pPr>
            <a:lvl2pPr>
              <a:lnSpc>
                <a:spcPct val="105000"/>
              </a:lnSpc>
              <a:buClr>
                <a:schemeClr val="tx1"/>
              </a:buClr>
              <a:defRPr sz="1000"/>
            </a:lvl2pPr>
            <a:lvl3pPr>
              <a:defRPr sz="1000"/>
            </a:lvl3pPr>
            <a:lvl4pPr marL="354012" indent="0">
              <a:buNone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latshållare för bild 8"/>
          <p:cNvSpPr>
            <a:spLocks noGrp="1"/>
          </p:cNvSpPr>
          <p:nvPr>
            <p:ph type="pic" sz="quarter" idx="39" hasCustomPrompt="1"/>
          </p:nvPr>
        </p:nvSpPr>
        <p:spPr>
          <a:xfrm>
            <a:off x="6261879" y="5527384"/>
            <a:ext cx="2718354" cy="8255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/>
              <a:t>Image</a:t>
            </a:r>
          </a:p>
        </p:txBody>
      </p:sp>
      <p:sp>
        <p:nvSpPr>
          <p:cNvPr id="38" name="Platshållare för text 26"/>
          <p:cNvSpPr>
            <a:spLocks noGrp="1"/>
          </p:cNvSpPr>
          <p:nvPr>
            <p:ph type="body" sz="quarter" idx="40" hasCustomPrompt="1"/>
          </p:nvPr>
        </p:nvSpPr>
        <p:spPr>
          <a:xfrm>
            <a:off x="6249177" y="1981200"/>
            <a:ext cx="2718354" cy="330200"/>
          </a:xfrm>
        </p:spPr>
        <p:txBody>
          <a:bodyPr/>
          <a:lstStyle>
            <a:lvl1pPr marL="0" indent="0" algn="ctr">
              <a:buFontTx/>
              <a:buNone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latshållare för text 2"/>
          <p:cNvSpPr>
            <a:spLocks noGrp="1"/>
          </p:cNvSpPr>
          <p:nvPr>
            <p:ph type="body" sz="quarter" idx="42" hasCustomPrompt="1"/>
          </p:nvPr>
        </p:nvSpPr>
        <p:spPr>
          <a:xfrm>
            <a:off x="6252455" y="2441679"/>
            <a:ext cx="2718354" cy="2954235"/>
          </a:xfrm>
        </p:spPr>
        <p:txBody>
          <a:bodyPr/>
          <a:lstStyle>
            <a:lvl1pPr>
              <a:defRPr sz="1200"/>
            </a:lvl1pPr>
            <a:lvl2pPr>
              <a:lnSpc>
                <a:spcPct val="105000"/>
              </a:lnSpc>
              <a:buClr>
                <a:schemeClr val="tx1"/>
              </a:buClr>
              <a:defRPr sz="1000"/>
            </a:lvl2pPr>
            <a:lvl3pPr>
              <a:defRPr sz="1000"/>
            </a:lvl3pPr>
            <a:lvl4pPr marL="354012" indent="0">
              <a:buNone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Platshållare för bild 8"/>
          <p:cNvSpPr>
            <a:spLocks noGrp="1"/>
          </p:cNvSpPr>
          <p:nvPr>
            <p:ph type="pic" sz="quarter" idx="43" hasCustomPrompt="1"/>
          </p:nvPr>
        </p:nvSpPr>
        <p:spPr>
          <a:xfrm>
            <a:off x="9308753" y="5527384"/>
            <a:ext cx="2718354" cy="8255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/>
              <a:t>Image</a:t>
            </a:r>
          </a:p>
        </p:txBody>
      </p:sp>
      <p:sp>
        <p:nvSpPr>
          <p:cNvPr id="45" name="Platshållare för text 26"/>
          <p:cNvSpPr>
            <a:spLocks noGrp="1"/>
          </p:cNvSpPr>
          <p:nvPr>
            <p:ph type="body" sz="quarter" idx="44" hasCustomPrompt="1"/>
          </p:nvPr>
        </p:nvSpPr>
        <p:spPr>
          <a:xfrm>
            <a:off x="9296051" y="1981200"/>
            <a:ext cx="2718354" cy="330200"/>
          </a:xfrm>
        </p:spPr>
        <p:txBody>
          <a:bodyPr/>
          <a:lstStyle>
            <a:lvl1pPr marL="0" indent="0" algn="ctr">
              <a:buFontTx/>
              <a:buNone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Platshållare för text 2"/>
          <p:cNvSpPr>
            <a:spLocks noGrp="1"/>
          </p:cNvSpPr>
          <p:nvPr>
            <p:ph type="body" sz="quarter" idx="46" hasCustomPrompt="1"/>
          </p:nvPr>
        </p:nvSpPr>
        <p:spPr>
          <a:xfrm>
            <a:off x="9299328" y="2441679"/>
            <a:ext cx="2718354" cy="2954235"/>
          </a:xfrm>
        </p:spPr>
        <p:txBody>
          <a:bodyPr/>
          <a:lstStyle>
            <a:lvl1pPr>
              <a:defRPr sz="1200"/>
            </a:lvl1pPr>
            <a:lvl2pPr>
              <a:lnSpc>
                <a:spcPct val="105000"/>
              </a:lnSpc>
              <a:buClr>
                <a:schemeClr val="tx1"/>
              </a:buClr>
              <a:defRPr sz="1000"/>
            </a:lvl2pPr>
            <a:lvl3pPr>
              <a:defRPr sz="1000"/>
            </a:lvl3pPr>
            <a:lvl4pPr marL="354012" indent="0">
              <a:buNone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latshållare för text 25"/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1295569" y="1458000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34" name="Platshållare för text 25"/>
          <p:cNvSpPr>
            <a:spLocks noGrp="1" noChangeAspect="1"/>
          </p:cNvSpPr>
          <p:nvPr>
            <p:ph type="body" sz="quarter" idx="48" hasCustomPrompt="1"/>
          </p:nvPr>
        </p:nvSpPr>
        <p:spPr>
          <a:xfrm>
            <a:off x="4362014" y="1458000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35" name="Platshållare för text 25"/>
          <p:cNvSpPr>
            <a:spLocks noGrp="1" noChangeAspect="1"/>
          </p:cNvSpPr>
          <p:nvPr>
            <p:ph type="body" sz="quarter" idx="49" hasCustomPrompt="1"/>
          </p:nvPr>
        </p:nvSpPr>
        <p:spPr>
          <a:xfrm>
            <a:off x="7392326" y="1458000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39" name="Platshållare för text 25"/>
          <p:cNvSpPr>
            <a:spLocks noGrp="1" noChangeAspect="1"/>
          </p:cNvSpPr>
          <p:nvPr>
            <p:ph type="body" sz="quarter" idx="50" hasCustomPrompt="1"/>
          </p:nvPr>
        </p:nvSpPr>
        <p:spPr>
          <a:xfrm>
            <a:off x="10439200" y="1458000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4</a:t>
            </a:r>
          </a:p>
        </p:txBody>
      </p:sp>
      <p:sp>
        <p:nvSpPr>
          <p:cNvPr id="24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27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868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Connector 47"/>
          <p:cNvCxnSpPr/>
          <p:nvPr userDrawn="1"/>
        </p:nvCxnSpPr>
        <p:spPr>
          <a:xfrm flipV="1">
            <a:off x="4067704" y="2451101"/>
            <a:ext cx="0" cy="3965574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47"/>
          <p:cNvCxnSpPr/>
          <p:nvPr userDrawn="1"/>
        </p:nvCxnSpPr>
        <p:spPr>
          <a:xfrm flipV="1">
            <a:off x="8143348" y="2451103"/>
            <a:ext cx="0" cy="3965573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ubrik 1"/>
          <p:cNvSpPr>
            <a:spLocks noGrp="1"/>
          </p:cNvSpPr>
          <p:nvPr>
            <p:ph type="title" hasCustomPrompt="1"/>
          </p:nvPr>
        </p:nvSpPr>
        <p:spPr>
          <a:xfrm>
            <a:off x="239744" y="274639"/>
            <a:ext cx="10274049" cy="777875"/>
          </a:xfr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28" name="Platshållare för bild 8"/>
          <p:cNvSpPr>
            <a:spLocks noGrp="1"/>
          </p:cNvSpPr>
          <p:nvPr>
            <p:ph type="pic" sz="quarter" idx="12" hasCustomPrompt="1"/>
          </p:nvPr>
        </p:nvSpPr>
        <p:spPr>
          <a:xfrm>
            <a:off x="158771" y="5527384"/>
            <a:ext cx="3744487" cy="8255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/>
              <a:t>Image</a:t>
            </a:r>
          </a:p>
        </p:txBody>
      </p:sp>
      <p:sp>
        <p:nvSpPr>
          <p:cNvPr id="29" name="Platshållare för text 26"/>
          <p:cNvSpPr>
            <a:spLocks noGrp="1"/>
          </p:cNvSpPr>
          <p:nvPr>
            <p:ph type="body" sz="quarter" idx="22" hasCustomPrompt="1"/>
          </p:nvPr>
        </p:nvSpPr>
        <p:spPr>
          <a:xfrm>
            <a:off x="158771" y="1981200"/>
            <a:ext cx="3744487" cy="330200"/>
          </a:xfrm>
        </p:spPr>
        <p:txBody>
          <a:bodyPr/>
          <a:lstStyle>
            <a:lvl1pPr marL="0" indent="0" algn="ctr">
              <a:buFontTx/>
              <a:buNone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latshållare för text 2"/>
          <p:cNvSpPr>
            <a:spLocks noGrp="1"/>
          </p:cNvSpPr>
          <p:nvPr>
            <p:ph type="body" sz="quarter" idx="34" hasCustomPrompt="1"/>
          </p:nvPr>
        </p:nvSpPr>
        <p:spPr>
          <a:xfrm>
            <a:off x="158771" y="2441679"/>
            <a:ext cx="3744487" cy="2954235"/>
          </a:xfrm>
        </p:spPr>
        <p:txBody>
          <a:bodyPr/>
          <a:lstStyle>
            <a:lvl1pPr>
              <a:defRPr sz="1200"/>
            </a:lvl1pPr>
            <a:lvl2pPr>
              <a:lnSpc>
                <a:spcPct val="105000"/>
              </a:lnSpc>
              <a:buClr>
                <a:schemeClr val="tx1"/>
              </a:buClr>
              <a:defRPr sz="1000"/>
            </a:lvl2pPr>
            <a:lvl3pPr>
              <a:defRPr sz="1000"/>
            </a:lvl3pPr>
            <a:lvl4pPr marL="354012" indent="0">
              <a:buNone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latshållare för bild 8"/>
          <p:cNvSpPr>
            <a:spLocks noGrp="1"/>
          </p:cNvSpPr>
          <p:nvPr>
            <p:ph type="pic" sz="quarter" idx="35" hasCustomPrompt="1"/>
          </p:nvPr>
        </p:nvSpPr>
        <p:spPr>
          <a:xfrm>
            <a:off x="4232400" y="5527384"/>
            <a:ext cx="3744487" cy="8255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/>
              <a:t>Image</a:t>
            </a:r>
          </a:p>
        </p:txBody>
      </p:sp>
      <p:sp>
        <p:nvSpPr>
          <p:cNvPr id="33" name="Platshållare för text 26"/>
          <p:cNvSpPr>
            <a:spLocks noGrp="1"/>
          </p:cNvSpPr>
          <p:nvPr>
            <p:ph type="body" sz="quarter" idx="36" hasCustomPrompt="1"/>
          </p:nvPr>
        </p:nvSpPr>
        <p:spPr>
          <a:xfrm>
            <a:off x="4232400" y="1981200"/>
            <a:ext cx="3744487" cy="330200"/>
          </a:xfrm>
        </p:spPr>
        <p:txBody>
          <a:bodyPr/>
          <a:lstStyle>
            <a:lvl1pPr marL="0" marR="0" indent="0" algn="ctr" defTabSz="914400" rtl="0" eaLnBrk="0" fontAlgn="base" latinLnBrk="0" hangingPunct="0">
              <a:lnSpc>
                <a:spcPct val="105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latshållare för text 2"/>
          <p:cNvSpPr>
            <a:spLocks noGrp="1"/>
          </p:cNvSpPr>
          <p:nvPr>
            <p:ph type="body" sz="quarter" idx="38" hasCustomPrompt="1"/>
          </p:nvPr>
        </p:nvSpPr>
        <p:spPr>
          <a:xfrm>
            <a:off x="4232400" y="2441679"/>
            <a:ext cx="3744487" cy="2954235"/>
          </a:xfrm>
        </p:spPr>
        <p:txBody>
          <a:bodyPr/>
          <a:lstStyle>
            <a:lvl1pPr>
              <a:defRPr sz="1200"/>
            </a:lvl1pPr>
            <a:lvl2pPr>
              <a:lnSpc>
                <a:spcPct val="105000"/>
              </a:lnSpc>
              <a:buClr>
                <a:schemeClr val="tx1"/>
              </a:buClr>
              <a:defRPr sz="1000"/>
            </a:lvl2pPr>
            <a:lvl3pPr>
              <a:defRPr sz="1000"/>
            </a:lvl3pPr>
            <a:lvl4pPr marL="354012" indent="0">
              <a:buNone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Platshållare för bild 8"/>
          <p:cNvSpPr>
            <a:spLocks noGrp="1"/>
          </p:cNvSpPr>
          <p:nvPr>
            <p:ph type="pic" sz="quarter" idx="39" hasCustomPrompt="1"/>
          </p:nvPr>
        </p:nvSpPr>
        <p:spPr>
          <a:xfrm>
            <a:off x="8308382" y="5527384"/>
            <a:ext cx="3744487" cy="8255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/>
              <a:t>Image</a:t>
            </a:r>
          </a:p>
        </p:txBody>
      </p:sp>
      <p:sp>
        <p:nvSpPr>
          <p:cNvPr id="38" name="Platshållare för text 26"/>
          <p:cNvSpPr>
            <a:spLocks noGrp="1"/>
          </p:cNvSpPr>
          <p:nvPr>
            <p:ph type="body" sz="quarter" idx="40" hasCustomPrompt="1"/>
          </p:nvPr>
        </p:nvSpPr>
        <p:spPr>
          <a:xfrm>
            <a:off x="8308382" y="1981200"/>
            <a:ext cx="3744487" cy="330200"/>
          </a:xfrm>
        </p:spPr>
        <p:txBody>
          <a:bodyPr/>
          <a:lstStyle>
            <a:lvl1pPr marL="0" indent="0" algn="ctr">
              <a:buFontTx/>
              <a:buNone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Platshållare för text 2"/>
          <p:cNvSpPr>
            <a:spLocks noGrp="1"/>
          </p:cNvSpPr>
          <p:nvPr>
            <p:ph type="body" sz="quarter" idx="42" hasCustomPrompt="1"/>
          </p:nvPr>
        </p:nvSpPr>
        <p:spPr>
          <a:xfrm>
            <a:off x="8308382" y="2441679"/>
            <a:ext cx="3744487" cy="2954235"/>
          </a:xfrm>
        </p:spPr>
        <p:txBody>
          <a:bodyPr/>
          <a:lstStyle>
            <a:lvl1pPr>
              <a:defRPr sz="1200"/>
            </a:lvl1pPr>
            <a:lvl2pPr>
              <a:lnSpc>
                <a:spcPct val="105000"/>
              </a:lnSpc>
              <a:buClr>
                <a:schemeClr val="tx1"/>
              </a:buClr>
              <a:defRPr sz="1000"/>
            </a:lvl2pPr>
            <a:lvl3pPr>
              <a:defRPr sz="1000"/>
            </a:lvl3pPr>
            <a:lvl4pPr marL="354012" indent="0">
              <a:buNone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Platshållare för text 25"/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1814986" y="1458000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22" name="Platshållare för text 25"/>
          <p:cNvSpPr>
            <a:spLocks noGrp="1" noChangeAspect="1"/>
          </p:cNvSpPr>
          <p:nvPr>
            <p:ph type="body" sz="quarter" idx="47" hasCustomPrompt="1"/>
          </p:nvPr>
        </p:nvSpPr>
        <p:spPr>
          <a:xfrm>
            <a:off x="5888616" y="1458000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23" name="Platshållare för text 25"/>
          <p:cNvSpPr>
            <a:spLocks noGrp="1" noChangeAspect="1"/>
          </p:cNvSpPr>
          <p:nvPr>
            <p:ph type="body" sz="quarter" idx="48" hasCustomPrompt="1"/>
          </p:nvPr>
        </p:nvSpPr>
        <p:spPr>
          <a:xfrm>
            <a:off x="9964597" y="1458000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3</a:t>
            </a:r>
          </a:p>
        </p:txBody>
      </p:sp>
      <p:sp>
        <p:nvSpPr>
          <p:cNvPr id="20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24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536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47"/>
          <p:cNvCxnSpPr/>
          <p:nvPr userDrawn="1"/>
        </p:nvCxnSpPr>
        <p:spPr>
          <a:xfrm flipV="1">
            <a:off x="6103144" y="2451101"/>
            <a:ext cx="0" cy="3965574"/>
          </a:xfrm>
          <a:prstGeom prst="line">
            <a:avLst/>
          </a:prstGeom>
          <a:ln w="12700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ubrik 1"/>
          <p:cNvSpPr>
            <a:spLocks noGrp="1"/>
          </p:cNvSpPr>
          <p:nvPr>
            <p:ph type="title" hasCustomPrompt="1"/>
          </p:nvPr>
        </p:nvSpPr>
        <p:spPr>
          <a:xfrm>
            <a:off x="239744" y="274639"/>
            <a:ext cx="10274049" cy="777875"/>
          </a:xfrm>
        </p:spPr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28" name="Platshållare för bild 8"/>
          <p:cNvSpPr>
            <a:spLocks noGrp="1"/>
          </p:cNvSpPr>
          <p:nvPr>
            <p:ph type="pic" sz="quarter" idx="12" hasCustomPrompt="1"/>
          </p:nvPr>
        </p:nvSpPr>
        <p:spPr>
          <a:xfrm>
            <a:off x="158771" y="5527384"/>
            <a:ext cx="5760750" cy="8255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/>
              <a:t>Image</a:t>
            </a:r>
          </a:p>
        </p:txBody>
      </p:sp>
      <p:sp>
        <p:nvSpPr>
          <p:cNvPr id="29" name="Platshållare för text 26"/>
          <p:cNvSpPr>
            <a:spLocks noGrp="1"/>
          </p:cNvSpPr>
          <p:nvPr>
            <p:ph type="body" sz="quarter" idx="22" hasCustomPrompt="1"/>
          </p:nvPr>
        </p:nvSpPr>
        <p:spPr>
          <a:xfrm>
            <a:off x="158771" y="1981200"/>
            <a:ext cx="5760750" cy="330200"/>
          </a:xfrm>
        </p:spPr>
        <p:txBody>
          <a:bodyPr/>
          <a:lstStyle>
            <a:lvl1pPr marL="0" indent="0" algn="ctr">
              <a:buFontTx/>
              <a:buNone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latshållare för text 2"/>
          <p:cNvSpPr>
            <a:spLocks noGrp="1"/>
          </p:cNvSpPr>
          <p:nvPr>
            <p:ph type="body" sz="quarter" idx="34" hasCustomPrompt="1"/>
          </p:nvPr>
        </p:nvSpPr>
        <p:spPr>
          <a:xfrm>
            <a:off x="158771" y="2441679"/>
            <a:ext cx="5760750" cy="2954235"/>
          </a:xfrm>
        </p:spPr>
        <p:txBody>
          <a:bodyPr/>
          <a:lstStyle>
            <a:lvl1pPr>
              <a:defRPr sz="1200"/>
            </a:lvl1pPr>
            <a:lvl2pPr>
              <a:lnSpc>
                <a:spcPct val="105000"/>
              </a:lnSpc>
              <a:buClr>
                <a:schemeClr val="tx1"/>
              </a:buClr>
              <a:defRPr sz="1000"/>
            </a:lvl2pPr>
            <a:lvl3pPr marL="182562" indent="0">
              <a:buNone/>
              <a:defRPr sz="1000"/>
            </a:lvl3pPr>
            <a:lvl4pPr marL="354012" indent="0">
              <a:buNone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Platshållare för bild 8"/>
          <p:cNvSpPr>
            <a:spLocks noGrp="1"/>
          </p:cNvSpPr>
          <p:nvPr>
            <p:ph type="pic" sz="quarter" idx="35" hasCustomPrompt="1"/>
          </p:nvPr>
        </p:nvSpPr>
        <p:spPr>
          <a:xfrm>
            <a:off x="6285254" y="5527384"/>
            <a:ext cx="5760750" cy="825500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en-US" noProof="0"/>
              <a:t>Image</a:t>
            </a:r>
          </a:p>
        </p:txBody>
      </p:sp>
      <p:sp>
        <p:nvSpPr>
          <p:cNvPr id="33" name="Platshållare för text 26"/>
          <p:cNvSpPr>
            <a:spLocks noGrp="1"/>
          </p:cNvSpPr>
          <p:nvPr>
            <p:ph type="body" sz="quarter" idx="36" hasCustomPrompt="1"/>
          </p:nvPr>
        </p:nvSpPr>
        <p:spPr>
          <a:xfrm>
            <a:off x="6285254" y="1981200"/>
            <a:ext cx="5760750" cy="330200"/>
          </a:xfrm>
        </p:spPr>
        <p:txBody>
          <a:bodyPr/>
          <a:lstStyle>
            <a:lvl1pPr marL="0" indent="0" algn="ctr">
              <a:buFontTx/>
              <a:buNone/>
              <a:defRPr sz="1400" b="1" i="0">
                <a:solidFill>
                  <a:srgbClr val="CC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Platshållare för text 2"/>
          <p:cNvSpPr>
            <a:spLocks noGrp="1"/>
          </p:cNvSpPr>
          <p:nvPr>
            <p:ph type="body" sz="quarter" idx="38" hasCustomPrompt="1"/>
          </p:nvPr>
        </p:nvSpPr>
        <p:spPr>
          <a:xfrm>
            <a:off x="6285254" y="2441679"/>
            <a:ext cx="5760750" cy="2954235"/>
          </a:xfrm>
        </p:spPr>
        <p:txBody>
          <a:bodyPr/>
          <a:lstStyle>
            <a:lvl1pPr>
              <a:defRPr sz="1200"/>
            </a:lvl1pPr>
            <a:lvl2pPr>
              <a:lnSpc>
                <a:spcPct val="105000"/>
              </a:lnSpc>
              <a:buClr>
                <a:schemeClr val="tx1"/>
              </a:buClr>
              <a:defRPr sz="1000"/>
            </a:lvl2pPr>
            <a:lvl3pPr>
              <a:defRPr sz="1000"/>
            </a:lvl3pPr>
            <a:lvl4pPr marL="354012" indent="0">
              <a:buNone/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latshållare för text 25"/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8949601" y="1458000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2</a:t>
            </a:r>
          </a:p>
        </p:txBody>
      </p:sp>
      <p:sp>
        <p:nvSpPr>
          <p:cNvPr id="15" name="Platshållare för text 25"/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2823118" y="1458000"/>
            <a:ext cx="432056" cy="432000"/>
          </a:xfrm>
          <a:blipFill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marL="0" indent="0" algn="ctr">
              <a:lnSpc>
                <a:spcPct val="100000"/>
              </a:lnSpc>
              <a:buFontTx/>
              <a:buNone/>
              <a:defRPr sz="1800" b="1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1</a:t>
            </a:r>
          </a:p>
        </p:txBody>
      </p:sp>
      <p:sp>
        <p:nvSpPr>
          <p:cNvPr id="16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17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50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Folie" r:id="rId4" imgW="413" imgH="416" progId="TCLayout.ActiveDocument.1">
                  <p:embed/>
                </p:oleObj>
              </mc:Choice>
              <mc:Fallback>
                <p:oleObj name="think-cell Folie" r:id="rId4" imgW="413" imgH="4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3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88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47F837E3-A352-47C5-896C-79CE216855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567EA5B-9B30-48F4-8D32-76B0ECC3A3D2}" type="datetime1">
              <a:rPr lang="en-US" smtClean="0"/>
              <a:t>5/26/2020</a:t>
            </a:fld>
            <a:endParaRPr lang="de-DE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CD2D3E1-BF04-49BA-9ABD-16507134B3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STRICTLY CONFIDENTIAL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10596DF-A0CD-4CBF-B29B-072B676B80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5573243"/>
      </p:ext>
    </p:extLst>
  </p:cSld>
  <p:clrMapOvr>
    <a:masterClrMapping/>
  </p:clrMapOvr>
  <p:transition spd="slow">
    <p:wip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B8858-BE68-45D3-85B8-E29225001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265B5FEF-D611-49E4-9D72-DA783A54B82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4C7E63A-D3B8-4F91-A14C-42F69AB6B7ED}" type="datetime1">
              <a:rPr lang="en-US" smtClean="0"/>
              <a:t>5/26/2020</a:t>
            </a:fld>
            <a:endParaRPr lang="de-DE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915E5C5-0F3C-40B6-AE60-181785B7E6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STRICTLY CONFIDENTIAL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C4F4A70-2809-4CD1-9143-651E3C7A55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B14B88A3-C49D-4D58-8662-CB5B8799CD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741436"/>
            <a:ext cx="11233150" cy="195814"/>
          </a:xfrm>
        </p:spPr>
        <p:txBody>
          <a:bodyPr tIns="72000" anchor="t">
            <a:spAutoFit/>
          </a:bodyPr>
          <a:lstStyle>
            <a:lvl1pPr>
              <a:defRPr sz="800" b="0" cap="none" baseline="0">
                <a:solidFill>
                  <a:schemeClr val="accent3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762100725"/>
      </p:ext>
    </p:extLst>
  </p:cSld>
  <p:clrMapOvr>
    <a:masterClrMapping/>
  </p:clrMapOvr>
  <p:transition spd="slow">
    <p:wip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B8858-BE68-45D3-85B8-E29225001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409BFF-8F2B-466A-A691-609B16E1EA27}" type="datetime1">
              <a:rPr lang="en-US" smtClean="0"/>
              <a:t>5/26/2020</a:t>
            </a:fld>
            <a:endParaRPr lang="de-DE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STRICTLY CONFIDENTIAL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C569B37D-3C4F-436A-9C83-7F325102C0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741436"/>
            <a:ext cx="11233150" cy="195814"/>
          </a:xfrm>
        </p:spPr>
        <p:txBody>
          <a:bodyPr tIns="72000" anchor="t">
            <a:spAutoFit/>
          </a:bodyPr>
          <a:lstStyle>
            <a:lvl1pPr>
              <a:defRPr sz="800" b="0" cap="none" baseline="0">
                <a:solidFill>
                  <a:schemeClr val="accent3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931481731"/>
      </p:ext>
    </p:extLst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476251"/>
            <a:ext cx="3600000" cy="5616574"/>
          </a:xfrm>
        </p:spPr>
        <p:txBody>
          <a:bodyPr rIns="1800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CCFD3D9-6568-4DBE-A7C6-571F45448C31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68134291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2561" userDrawn="1">
          <p15:clr>
            <a:srgbClr val="FBAE40"/>
          </p15:clr>
        </p15:guide>
        <p15:guide id="3" pos="5112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0"/>
            <a:ext cx="40644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6" y="476251"/>
            <a:ext cx="3600000" cy="5221690"/>
          </a:xfrm>
        </p:spPr>
        <p:txBody>
          <a:bodyPr rIns="180000"/>
          <a:lstStyle>
            <a:lvl1pPr algn="l" defTabSz="91430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5978">
              <a:defRPr spc="0" baseline="0"/>
            </a:lvl4pPr>
            <a:lvl5pPr marL="431957">
              <a:defRPr spc="0" baseline="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64F55A3-E018-4247-AEB4-48C427B4E348}" type="datetime1">
              <a:rPr lang="de-DE" smtClean="0"/>
              <a:t>26.05.2020</a:t>
            </a:fld>
            <a:endParaRPr lang="de-DE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FOR INTERNAL USE ONLY / STRICLY CONFIDENTIAL</a:t>
            </a:r>
            <a:endParaRPr lang="de-DE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1" y="0"/>
            <a:ext cx="40644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8417A69-78C7-4F7E-A57B-D7D245AFA3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741436"/>
            <a:ext cx="11233150" cy="195814"/>
          </a:xfrm>
        </p:spPr>
        <p:txBody>
          <a:bodyPr tIns="72000" anchor="t">
            <a:spAutoFit/>
          </a:bodyPr>
          <a:lstStyle>
            <a:lvl1pPr>
              <a:defRPr sz="800" b="0" cap="none" baseline="0">
                <a:solidFill>
                  <a:schemeClr val="accent3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49112275"/>
      </p:ext>
    </p:extLst>
  </p:cSld>
  <p:clrMapOvr>
    <a:masterClrMapping/>
  </p:clrMapOvr>
  <p:transition spd="slow">
    <p:wip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1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9F14E7E4-D0C7-4F76-9AE7-D3988CB8F910}" type="datetime1">
              <a:rPr lang="de-DE" smtClean="0"/>
              <a:t>26.05.2020</a:t>
            </a:fld>
            <a:endParaRPr lang="de-DE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FOR INTERNAL USE ONLY / STRICLY CONFIDENTIAL</a:t>
            </a:r>
            <a:endParaRPr lang="de-DE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1" cy="6858000"/>
          </a:xfrm>
        </p:spPr>
        <p:txBody>
          <a:bodyPr/>
          <a:lstStyle/>
          <a:p>
            <a:endParaRPr lang="de-DE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E8182E1-0AC6-4F46-B3FB-54439F2539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4" y="476251"/>
            <a:ext cx="5508625" cy="5221690"/>
          </a:xfrm>
        </p:spPr>
        <p:txBody>
          <a:bodyPr rIns="180000"/>
          <a:lstStyle>
            <a:lvl1pPr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5978">
              <a:defRPr spc="0" baseline="0"/>
            </a:lvl4pPr>
            <a:lvl5pPr marL="431957">
              <a:defRPr spc="0" baseline="0"/>
            </a:lvl5pPr>
          </a:lstStyle>
          <a:p>
            <a:pPr marL="0" lvl="0" indent="0" algn="l" defTabSz="914309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Symbol" panose="05050102010706020507" pitchFamily="18" charset="2"/>
              <a:buNone/>
            </a:pPr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D57ADEF2-36BA-4189-B5BB-39CB7E4A43F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741436"/>
            <a:ext cx="11233150" cy="195814"/>
          </a:xfrm>
        </p:spPr>
        <p:txBody>
          <a:bodyPr tIns="72000" anchor="t">
            <a:spAutoFit/>
          </a:bodyPr>
          <a:lstStyle>
            <a:lvl1pPr>
              <a:defRPr sz="800" b="0" cap="none" baseline="0">
                <a:solidFill>
                  <a:schemeClr val="accent3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714223659"/>
      </p:ext>
    </p:extLst>
  </p:cSld>
  <p:clrMapOvr>
    <a:masterClrMapping/>
  </p:clrMapOvr>
  <p:transition spd="slow">
    <p:wip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CB8858-BE68-45D3-85B8-E292250019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25C108F-9D2D-4E93-B581-5DA92B7B72FA}" type="datetime1">
              <a:rPr lang="de-DE" smtClean="0"/>
              <a:t>26.05.2020</a:t>
            </a:fld>
            <a:endParaRPr lang="de-DE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FOR INTERNAL USE ONLY / STRICLY CONFIDENTIAL</a:t>
            </a:r>
            <a:endParaRPr lang="de-DE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C569B37D-3C4F-436A-9C83-7F325102C0D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5741436"/>
            <a:ext cx="11233150" cy="195814"/>
          </a:xfrm>
        </p:spPr>
        <p:txBody>
          <a:bodyPr tIns="72000" anchor="t">
            <a:spAutoFit/>
          </a:bodyPr>
          <a:lstStyle>
            <a:lvl1pPr>
              <a:defRPr sz="800" b="0" cap="none" baseline="0">
                <a:solidFill>
                  <a:schemeClr val="accent3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521135197"/>
      </p:ext>
    </p:extLst>
  </p:cSld>
  <p:clrMapOvr>
    <a:masterClrMapping/>
  </p:clrMapOvr>
  <p:transition spd="slow">
    <p:wip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lnSpc>
                <a:spcPct val="105000"/>
              </a:lnSpc>
              <a:defRPr sz="1600" baseline="0"/>
            </a:lvl1pPr>
            <a:lvl2pPr marL="355600" indent="-177800">
              <a:lnSpc>
                <a:spcPct val="105000"/>
              </a:lnSpc>
              <a:buClr>
                <a:schemeClr val="tx1"/>
              </a:buClr>
              <a:defRPr sz="1600"/>
            </a:lvl2pPr>
            <a:lvl3pPr marL="533400" indent="-177800">
              <a:lnSpc>
                <a:spcPct val="105000"/>
              </a:lnSpc>
              <a:defRPr sz="1600" baseline="0"/>
            </a:lvl3pPr>
            <a:lvl4pPr marL="723900" indent="-190500">
              <a:lnSpc>
                <a:spcPct val="105000"/>
              </a:lnSpc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noProof="0"/>
              <a:t>Level two</a:t>
            </a:r>
          </a:p>
          <a:p>
            <a:pPr lvl="2"/>
            <a:r>
              <a:rPr lang="en-US" noProof="0"/>
              <a:t>Level three</a:t>
            </a:r>
          </a:p>
          <a:p>
            <a:pPr lvl="3"/>
            <a:r>
              <a:rPr lang="en-US" noProof="0"/>
              <a:t>Level four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DD65B4-5D28-7E4B-AEDA-E58EA25409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8" hasCustomPrompt="1"/>
          </p:nvPr>
        </p:nvSpPr>
        <p:spPr>
          <a:xfrm>
            <a:off x="182587" y="6422742"/>
            <a:ext cx="11119031" cy="2736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sz="900"/>
            </a:lvl1pPr>
          </a:lstStyle>
          <a:p>
            <a:pPr marL="0" marR="0" lvl="0" indent="0" algn="l" defTabSz="914400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noProof="0"/>
              <a:t>Click to edit Footer styl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11595291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age number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028667" y="6453190"/>
            <a:ext cx="661815" cy="27463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E8F2FB-12F9-4BF5-B6BC-6B40F4750804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3997207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rgbClr val="4C4C4C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noProof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C4D55-3547-7441-B3A8-B4CE32BF636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Platshållare för text 6"/>
          <p:cNvSpPr>
            <a:spLocks noGrp="1"/>
          </p:cNvSpPr>
          <p:nvPr>
            <p:ph type="body" sz="quarter" idx="18" hasCustomPrompt="1"/>
          </p:nvPr>
        </p:nvSpPr>
        <p:spPr>
          <a:xfrm>
            <a:off x="182587" y="6422742"/>
            <a:ext cx="11119031" cy="273600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 sz="900"/>
            </a:lvl1pPr>
          </a:lstStyle>
          <a:p>
            <a:pPr marL="0" marR="0" lvl="0" indent="0" algn="l" defTabSz="914400" rtl="0" eaLnBrk="1" fontAlgn="base" latinLnBrk="0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Tx/>
              <a:buFontTx/>
              <a:buNone/>
              <a:tabLst/>
              <a:defRPr/>
            </a:pPr>
            <a:r>
              <a:rPr lang="en-US" noProof="0"/>
              <a:t>Click to edit Footer styl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0712091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C09BDFCA-9E66-40F8-82C0-919C7946396A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44522B2-F06F-46A4-B67B-A54ECCA8166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  <a:p>
            <a:pPr lvl="4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8961233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6E755411-DB4A-41C1-BDEE-2EF7FDE7C7EF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E8182E1-0AC6-4F46-B3FB-54439F2539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/>
              <a:t>Click to edit Master title style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 bene</a:t>
            </a:r>
          </a:p>
          <a:p>
            <a:pPr lvl="4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82231171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0A741E-6018-49E9-B756-97FF3C8EB2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6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0A741E-6018-49E9-B756-97FF3C8EB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9668B7-F416-4A25-8559-DF9C5F2C4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C3CB9E4-DFFC-4D3C-84B2-96A411918675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147BF4-3128-449E-826A-B3A1941E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721716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47F837E3-A352-47C5-896C-79CE216855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ECABBAE-C076-48FB-BE42-17E5095EADE4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CD2D3E1-BF04-49BA-9ABD-16507134B3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10596DF-A0CD-4CBF-B29B-072B676B80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66531268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19.xml"/><Relationship Id="rId3" Type="http://schemas.openxmlformats.org/officeDocument/2006/relationships/slideLayout" Target="../slideLayouts/slideLayout16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18.xml"/><Relationship Id="rId2" Type="http://schemas.openxmlformats.org/officeDocument/2006/relationships/slideLayout" Target="../slideLayouts/slideLayout15.xml"/><Relationship Id="rId16" Type="http://schemas.openxmlformats.org/officeDocument/2006/relationships/vmlDrawing" Target="../drawings/vmlDrawing9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slideLayout" Target="../slideLayouts/slideLayout45.xml"/><Relationship Id="rId26" Type="http://schemas.openxmlformats.org/officeDocument/2006/relationships/slideLayout" Target="../slideLayouts/slideLayout53.xml"/><Relationship Id="rId3" Type="http://schemas.openxmlformats.org/officeDocument/2006/relationships/slideLayout" Target="../slideLayouts/slideLayout30.xml"/><Relationship Id="rId21" Type="http://schemas.openxmlformats.org/officeDocument/2006/relationships/slideLayout" Target="../slideLayouts/slideLayout48.xml"/><Relationship Id="rId34" Type="http://schemas.openxmlformats.org/officeDocument/2006/relationships/image" Target="../media/image10.jpeg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slideLayout" Target="../slideLayouts/slideLayout44.xml"/><Relationship Id="rId25" Type="http://schemas.openxmlformats.org/officeDocument/2006/relationships/slideLayout" Target="../slideLayouts/slideLayout52.xml"/><Relationship Id="rId33" Type="http://schemas.openxmlformats.org/officeDocument/2006/relationships/image" Target="../media/image9.emf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slideLayout" Target="../slideLayouts/slideLayout47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24" Type="http://schemas.openxmlformats.org/officeDocument/2006/relationships/slideLayout" Target="../slideLayouts/slideLayout51.xml"/><Relationship Id="rId32" Type="http://schemas.openxmlformats.org/officeDocument/2006/relationships/oleObject" Target="../embeddings/oleObject21.bin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23" Type="http://schemas.openxmlformats.org/officeDocument/2006/relationships/slideLayout" Target="../slideLayouts/slideLayout50.xml"/><Relationship Id="rId28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37.xml"/><Relationship Id="rId19" Type="http://schemas.openxmlformats.org/officeDocument/2006/relationships/slideLayout" Target="../slideLayouts/slideLayout46.xml"/><Relationship Id="rId31" Type="http://schemas.openxmlformats.org/officeDocument/2006/relationships/tags" Target="../tags/tag42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Relationship Id="rId22" Type="http://schemas.openxmlformats.org/officeDocument/2006/relationships/slideLayout" Target="../slideLayouts/slideLayout49.xml"/><Relationship Id="rId27" Type="http://schemas.openxmlformats.org/officeDocument/2006/relationships/slideLayout" Target="../slideLayouts/slideLayout54.xml"/><Relationship Id="rId30" Type="http://schemas.openxmlformats.org/officeDocument/2006/relationships/vmlDrawing" Target="../drawings/vmlDrawing2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9CC7DD-C414-48C7-92CF-596732911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1372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420" imgH="429" progId="TCLayout.ActiveDocument.1">
                  <p:embed/>
                </p:oleObj>
              </mc:Choice>
              <mc:Fallback>
                <p:oleObj name="think-cell Slide" r:id="rId18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9CC7DD-C414-48C7-92CF-596732911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3CBA3B-EDA1-4EAB-A194-0BADAA9F97A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BE00ACF-1072-4E70-AE8D-F252D480D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962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00213"/>
            <a:ext cx="112331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EB211ED-544F-4BDA-BB93-2D2CD2190C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15075" y="6425409"/>
            <a:ext cx="694899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96371C-EAE2-4B56-9E57-1045507677D2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89F40B-CF1B-4C82-9646-27F14BAFF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425409"/>
            <a:ext cx="454174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C530F1-2606-4CCC-A677-BCE0A07CA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9352" y="6425409"/>
            <a:ext cx="47625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b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B6F840C-2113-4640-8BB0-1DBC3429906E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50" r:id="rId2"/>
    <p:sldLayoutId id="2147483665" r:id="rId3"/>
    <p:sldLayoutId id="2147483666" r:id="rId4"/>
    <p:sldLayoutId id="2147483694" r:id="rId5"/>
    <p:sldLayoutId id="2147483695" r:id="rId6"/>
    <p:sldLayoutId id="2147483790" r:id="rId7"/>
    <p:sldLayoutId id="2147483667" r:id="rId8"/>
    <p:sldLayoutId id="2147483668" r:id="rId9"/>
    <p:sldLayoutId id="2147483761" r:id="rId10"/>
    <p:sldLayoutId id="2147483763" r:id="rId11"/>
    <p:sldLayoutId id="2147483830" r:id="rId12"/>
    <p:sldLayoutId id="2147483832" r:id="rId13"/>
  </p:sldLayoutIdLst>
  <p:transition spd="slow">
    <p:wipe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2000" b="1" kern="1200" cap="none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pos="3772" userDrawn="1">
          <p15:clr>
            <a:srgbClr val="F26B43"/>
          </p15:clr>
        </p15:guide>
        <p15:guide id="5" pos="3908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30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15" orient="horz" pos="3584" userDrawn="1">
          <p15:clr>
            <a:srgbClr val="F26B43"/>
          </p15:clr>
        </p15:guide>
        <p15:guide id="16" orient="horz" pos="38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48F510-6A42-4D25-BBAD-9CBB223CEA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7901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9" imgW="420" imgH="429" progId="TCLayout.ActiveDocument.1">
                  <p:embed/>
                </p:oleObj>
              </mc:Choice>
              <mc:Fallback>
                <p:oleObj name="think-cell Slide" r:id="rId19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948F510-6A42-4D25-BBAD-9CBB223CEA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2837B11-D288-4477-A01C-8B534B26B2A4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BE00ACF-1072-4E70-AE8D-F252D480D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962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00213"/>
            <a:ext cx="112331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  <a:endParaRPr lang="en-US"/>
          </a:p>
          <a:p>
            <a:pPr lvl="1"/>
            <a:r>
              <a:rPr lang="en-US"/>
              <a:t>Second </a:t>
            </a:r>
            <a:r>
              <a:rPr lang="en-US" noProof="0"/>
              <a:t>level</a:t>
            </a:r>
            <a:endParaRPr lang="en-US"/>
          </a:p>
          <a:p>
            <a:pPr lvl="2"/>
            <a:r>
              <a:rPr lang="en-US"/>
              <a:t>Third </a:t>
            </a:r>
            <a:r>
              <a:rPr lang="en-US" noProof="0"/>
              <a:t>level</a:t>
            </a:r>
            <a:endParaRPr lang="en-US"/>
          </a:p>
          <a:p>
            <a:pPr lvl="3"/>
            <a:r>
              <a:rPr lang="en-US"/>
              <a:t>Fourth </a:t>
            </a:r>
            <a:r>
              <a:rPr lang="en-US" noProof="0"/>
              <a:t>level</a:t>
            </a:r>
            <a:endParaRPr lang="en-US"/>
          </a:p>
          <a:p>
            <a:pPr lvl="4"/>
            <a:r>
              <a:rPr lang="en-US"/>
              <a:t>Fifth </a:t>
            </a:r>
            <a:r>
              <a:rPr lang="en-US" noProof="0"/>
              <a:t>level</a:t>
            </a:r>
            <a:endParaRPr lang="en-US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B6F840C-2113-4640-8BB0-1DBC3429906E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07497E68-FA1B-44AB-AB5F-9171226CB8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15075" y="6425409"/>
            <a:ext cx="694899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9E0564-493D-4598-866C-BFEFCABA3F56}" type="datetime1">
              <a:rPr lang="de-DE" noProof="0" smtClean="0"/>
              <a:t>26.05.2020</a:t>
            </a:fld>
            <a:endParaRPr lang="en-US" noProof="0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AEBD2F3E-2381-492D-A0F1-70C7C01E05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425409"/>
            <a:ext cx="454174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noProof="0"/>
          </a:p>
        </p:txBody>
      </p:sp>
      <p:sp>
        <p:nvSpPr>
          <p:cNvPr id="13" name="Foliennummernplatzhalter 6">
            <a:extLst>
              <a:ext uri="{FF2B5EF4-FFF2-40B4-BE49-F238E27FC236}">
                <a16:creationId xmlns:a16="http://schemas.microsoft.com/office/drawing/2014/main" id="{AB47350F-236D-4FBF-8EE8-2F00175211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9352" y="6425409"/>
            <a:ext cx="47625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b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37684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6" r:id="rId6"/>
    <p:sldLayoutId id="2147483787" r:id="rId7"/>
    <p:sldLayoutId id="2147483835" r:id="rId8"/>
    <p:sldLayoutId id="2147483838" r:id="rId9"/>
    <p:sldLayoutId id="2147483840" r:id="rId10"/>
    <p:sldLayoutId id="2147483870" r:id="rId11"/>
    <p:sldLayoutId id="2147483871" r:id="rId12"/>
    <p:sldLayoutId id="2147483872" r:id="rId13"/>
    <p:sldLayoutId id="2147483873" r:id="rId14"/>
  </p:sldLayoutIdLst>
  <p:transition spd="slow">
    <p:wipe/>
  </p:transition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2000" b="1" kern="1200" cap="none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None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772">
          <p15:clr>
            <a:srgbClr val="F26B43"/>
          </p15:clr>
        </p15:guide>
        <p15:guide id="5" pos="3908">
          <p15:clr>
            <a:srgbClr val="F26B43"/>
          </p15:clr>
        </p15:guide>
        <p15:guide id="6" orient="horz" pos="913">
          <p15:clr>
            <a:srgbClr val="F26B43"/>
          </p15:clr>
        </p15:guide>
        <p15:guide id="7" orient="horz" pos="300">
          <p15:clr>
            <a:srgbClr val="F26B43"/>
          </p15:clr>
        </p15:guide>
        <p15:guide id="8" orient="horz" pos="1071">
          <p15:clr>
            <a:srgbClr val="F26B43"/>
          </p15:clr>
        </p15:guide>
        <p15:guide id="15" orient="horz" pos="3584">
          <p15:clr>
            <a:srgbClr val="F26B43"/>
          </p15:clr>
        </p15:guide>
        <p15:guide id="16" orient="horz" pos="383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32" imgW="413" imgH="416" progId="TCLayout.ActiveDocument.1">
                  <p:embed/>
                </p:oleObj>
              </mc:Choice>
              <mc:Fallback>
                <p:oleObj name="think-cell Slide" r:id="rId32" imgW="413" imgH="4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9744" y="274639"/>
            <a:ext cx="10274049" cy="7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9745" y="1571625"/>
            <a:ext cx="11712512" cy="439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3"/>
          </p:nvPr>
        </p:nvSpPr>
        <p:spPr>
          <a:xfrm>
            <a:off x="254033" y="6356351"/>
            <a:ext cx="777182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rgbClr val="5B5B5B"/>
                </a:solidFill>
              </a:defRPr>
            </a:lvl1pPr>
          </a:lstStyle>
          <a:p>
            <a:r>
              <a:rPr lang="en-US"/>
              <a:t>Nobel </a:t>
            </a:r>
            <a:r>
              <a:rPr lang="en-US" err="1"/>
              <a:t>Biocare</a:t>
            </a:r>
            <a:r>
              <a:rPr lang="en-US"/>
              <a:t> Quality Implant Systems – Total System Performance</a:t>
            </a:r>
          </a:p>
        </p:txBody>
      </p:sp>
      <p:sp>
        <p:nvSpPr>
          <p:cNvPr id="8" name="Platshållare för bildnummer 7"/>
          <p:cNvSpPr>
            <a:spLocks noGrp="1"/>
          </p:cNvSpPr>
          <p:nvPr>
            <p:ph type="sldNum" sz="quarter" idx="4"/>
          </p:nvPr>
        </p:nvSpPr>
        <p:spPr>
          <a:xfrm>
            <a:off x="8737150" y="6356351"/>
            <a:ext cx="3223045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rgbClr val="5B5B5B"/>
                </a:solidFill>
              </a:defRPr>
            </a:lvl1pPr>
          </a:lstStyle>
          <a:p>
            <a:fld id="{605BF24E-F656-4D4F-BD10-E6F502AD5B7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Bildobjekt 12" descr="Nobel Biocare logo jpg color med.jpg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099658" y="419101"/>
            <a:ext cx="904993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54569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  <p:sldLayoutId id="2147483858" r:id="rId17"/>
    <p:sldLayoutId id="2147483859" r:id="rId18"/>
    <p:sldLayoutId id="2147483860" r:id="rId19"/>
    <p:sldLayoutId id="2147483861" r:id="rId20"/>
    <p:sldLayoutId id="2147483862" r:id="rId21"/>
    <p:sldLayoutId id="2147483863" r:id="rId22"/>
    <p:sldLayoutId id="2147483864" r:id="rId23"/>
    <p:sldLayoutId id="2147483865" r:id="rId24"/>
    <p:sldLayoutId id="2147483866" r:id="rId25"/>
    <p:sldLayoutId id="2147483867" r:id="rId26"/>
    <p:sldLayoutId id="2147483868" r:id="rId27"/>
    <p:sldLayoutId id="2147483869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rgbClr val="CC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rgbClr val="CC0000"/>
          </a:solidFill>
          <a:latin typeface="Arial" charset="0"/>
          <a:ea typeface="Geneva" charset="0"/>
          <a:cs typeface="Arial" charset="0"/>
        </a:defRPr>
      </a:lvl2pPr>
      <a:lvl3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rgbClr val="CC0000"/>
          </a:solidFill>
          <a:latin typeface="Arial" charset="0"/>
          <a:ea typeface="Geneva" charset="0"/>
          <a:cs typeface="Arial" charset="0"/>
        </a:defRPr>
      </a:lvl3pPr>
      <a:lvl4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rgbClr val="CC0000"/>
          </a:solidFill>
          <a:latin typeface="Arial" charset="0"/>
          <a:ea typeface="Geneva" charset="0"/>
          <a:cs typeface="Arial" charset="0"/>
        </a:defRPr>
      </a:lvl4pPr>
      <a:lvl5pPr algn="l" rtl="0" eaLnBrk="0" fontAlgn="base" hangingPunct="0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rgbClr val="CC0000"/>
          </a:solidFill>
          <a:latin typeface="Arial" charset="0"/>
          <a:ea typeface="Geneva" charset="0"/>
          <a:cs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rgbClr val="505050"/>
          </a:solidFill>
          <a:latin typeface="Arial" charset="0"/>
          <a:ea typeface="Geneva" charset="0"/>
          <a:cs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rgbClr val="505050"/>
          </a:solidFill>
          <a:latin typeface="Arial" charset="0"/>
          <a:ea typeface="Geneva" charset="0"/>
          <a:cs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rgbClr val="505050"/>
          </a:solidFill>
          <a:latin typeface="Arial" charset="0"/>
          <a:ea typeface="Geneva" charset="0"/>
          <a:cs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600">
          <a:solidFill>
            <a:srgbClr val="505050"/>
          </a:solidFill>
          <a:latin typeface="Arial" charset="0"/>
          <a:ea typeface="Geneva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Symbol" charset="0"/>
        <a:buChar char="-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79388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rgbClr val="CC0000"/>
        </a:buClr>
        <a:buFont typeface="Symbol" charset="0"/>
        <a:buChar char="-"/>
        <a:defRPr sz="1500">
          <a:solidFill>
            <a:schemeClr val="tx1"/>
          </a:solidFill>
          <a:latin typeface="+mn-lt"/>
          <a:ea typeface="Arial" charset="0"/>
          <a:cs typeface="+mn-cs"/>
        </a:defRPr>
      </a:lvl2pPr>
      <a:lvl3pPr marL="352425" indent="-169863"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Symbol" charset="0"/>
        <a:buChar char="-"/>
        <a:defRPr sz="1600">
          <a:solidFill>
            <a:schemeClr val="tx1"/>
          </a:solidFill>
          <a:latin typeface="+mn-lt"/>
          <a:ea typeface="Arial" charset="0"/>
          <a:cs typeface="+mn-cs"/>
        </a:defRPr>
      </a:lvl3pPr>
      <a:lvl4pPr marL="542925" indent="-188913"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Symbol" charset="0"/>
        <a:buChar char="-"/>
        <a:defRPr sz="1600">
          <a:solidFill>
            <a:schemeClr val="tx1"/>
          </a:solidFill>
          <a:latin typeface="+mn-lt"/>
          <a:ea typeface="Arial" charset="0"/>
          <a:cs typeface="+mn-cs"/>
        </a:defRPr>
      </a:lvl4pPr>
      <a:lvl5pPr marL="714375" indent="-169863" algn="l" rtl="0" eaLnBrk="0" fontAlgn="base" hangingPunct="0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Symbol" charset="0"/>
        <a:buChar char="-"/>
        <a:defRPr sz="1600">
          <a:solidFill>
            <a:schemeClr val="tx1"/>
          </a:solidFill>
          <a:latin typeface="+mn-lt"/>
          <a:ea typeface="Arial" charset="0"/>
          <a:cs typeface="+mn-cs"/>
        </a:defRPr>
      </a:lvl5pPr>
      <a:lvl6pPr marL="893763" indent="-179388" algn="l" rtl="0" eaLnBrk="1" fontAlgn="base" hangingPunct="1">
        <a:lnSpc>
          <a:spcPct val="105000"/>
        </a:lnSpc>
        <a:spcBef>
          <a:spcPct val="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sz="1600">
          <a:solidFill>
            <a:schemeClr val="tx1"/>
          </a:solidFill>
          <a:latin typeface="+mn-lt"/>
          <a:ea typeface="Arial" charset="0"/>
          <a:cs typeface="+mn-cs"/>
        </a:defRPr>
      </a:lvl6pPr>
      <a:lvl7pPr marL="1628775" indent="-169863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Clr>
          <a:srgbClr val="CC0000"/>
        </a:buClr>
        <a:buChar char="•"/>
        <a:defRPr sz="1500">
          <a:solidFill>
            <a:schemeClr val="tx1"/>
          </a:solidFill>
          <a:latin typeface="+mn-lt"/>
          <a:ea typeface="Arial" charset="0"/>
          <a:cs typeface="+mn-cs"/>
        </a:defRPr>
      </a:lvl7pPr>
      <a:lvl8pPr marL="2085975" indent="-169863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Clr>
          <a:srgbClr val="CC0000"/>
        </a:buClr>
        <a:buChar char="•"/>
        <a:defRPr sz="1500">
          <a:solidFill>
            <a:schemeClr val="tx1"/>
          </a:solidFill>
          <a:latin typeface="+mn-lt"/>
          <a:ea typeface="Arial" charset="0"/>
          <a:cs typeface="+mn-cs"/>
        </a:defRPr>
      </a:lvl8pPr>
      <a:lvl9pPr marL="2543175" indent="-169863" algn="l" rtl="0" eaLnBrk="1" fontAlgn="base" hangingPunct="1">
        <a:lnSpc>
          <a:spcPts val="2400"/>
        </a:lnSpc>
        <a:spcBef>
          <a:spcPct val="0"/>
        </a:spcBef>
        <a:spcAft>
          <a:spcPct val="0"/>
        </a:spcAft>
        <a:buClr>
          <a:srgbClr val="CC0000"/>
        </a:buClr>
        <a:buChar char="•"/>
        <a:defRPr sz="1500">
          <a:solidFill>
            <a:schemeClr val="tx1"/>
          </a:solidFill>
          <a:latin typeface="+mn-lt"/>
          <a:ea typeface="Arial" charset="0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45.emf"/><Relationship Id="rId2" Type="http://schemas.openxmlformats.org/officeDocument/2006/relationships/tags" Target="../tags/tag53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46.jpeg"/><Relationship Id="rId2" Type="http://schemas.openxmlformats.org/officeDocument/2006/relationships/tags" Target="../tags/tag5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48.png"/><Relationship Id="rId2" Type="http://schemas.openxmlformats.org/officeDocument/2006/relationships/tags" Target="../tags/tag5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51.jpeg"/><Relationship Id="rId4" Type="http://schemas.openxmlformats.org/officeDocument/2006/relationships/image" Target="../media/image30.jpeg"/><Relationship Id="rId9" Type="http://schemas.openxmlformats.org/officeDocument/2006/relationships/image" Target="../media/image50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29.emf"/><Relationship Id="rId2" Type="http://schemas.openxmlformats.org/officeDocument/2006/relationships/tags" Target="../tags/tag56.xml"/><Relationship Id="rId1" Type="http://schemas.openxmlformats.org/officeDocument/2006/relationships/vmlDrawing" Target="../drawings/vmlDrawing34.vml"/><Relationship Id="rId6" Type="http://schemas.openxmlformats.org/officeDocument/2006/relationships/oleObject" Target="../embeddings/oleObject26.bin"/><Relationship Id="rId5" Type="http://schemas.openxmlformats.org/officeDocument/2006/relationships/image" Target="../media/image30.jpeg"/><Relationship Id="rId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54.jpeg"/><Relationship Id="rId2" Type="http://schemas.openxmlformats.org/officeDocument/2006/relationships/tags" Target="../tags/tag5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2.tiff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2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56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7.emf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58.png"/><Relationship Id="rId12" Type="http://schemas.microsoft.com/office/2007/relationships/hdphoto" Target="../media/hdphoto4.wdp"/><Relationship Id="rId2" Type="http://schemas.openxmlformats.org/officeDocument/2006/relationships/tags" Target="../tags/tag5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9.emf"/><Relationship Id="rId11" Type="http://schemas.openxmlformats.org/officeDocument/2006/relationships/image" Target="../media/image60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59.jpeg"/><Relationship Id="rId4" Type="http://schemas.openxmlformats.org/officeDocument/2006/relationships/image" Target="../media/image57.emf"/><Relationship Id="rId9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g"/><Relationship Id="rId3" Type="http://schemas.openxmlformats.org/officeDocument/2006/relationships/slideLayout" Target="../slideLayouts/slideLayout21.xml"/><Relationship Id="rId7" Type="http://schemas.microsoft.com/office/2007/relationships/hdphoto" Target="../media/hdphoto5.wdp"/><Relationship Id="rId12" Type="http://schemas.openxmlformats.org/officeDocument/2006/relationships/image" Target="../media/image65.png"/><Relationship Id="rId2" Type="http://schemas.openxmlformats.org/officeDocument/2006/relationships/tags" Target="../tags/tag6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61.png"/><Relationship Id="rId11" Type="http://schemas.openxmlformats.org/officeDocument/2006/relationships/image" Target="../media/image64.png"/><Relationship Id="rId5" Type="http://schemas.openxmlformats.org/officeDocument/2006/relationships/image" Target="../media/image29.emf"/><Relationship Id="rId10" Type="http://schemas.microsoft.com/office/2007/relationships/hdphoto" Target="../media/hdphoto6.wdp"/><Relationship Id="rId4" Type="http://schemas.openxmlformats.org/officeDocument/2006/relationships/oleObject" Target="../embeddings/oleObject29.bin"/><Relationship Id="rId9" Type="http://schemas.openxmlformats.org/officeDocument/2006/relationships/image" Target="../media/image6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4.tif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slideLayout" Target="../slideLayouts/slideLayout21.xml"/><Relationship Id="rId7" Type="http://schemas.microsoft.com/office/2007/relationships/hdphoto" Target="../media/hdphoto3.wdp"/><Relationship Id="rId2" Type="http://schemas.openxmlformats.org/officeDocument/2006/relationships/tags" Target="../tags/tag6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58.png"/><Relationship Id="rId5" Type="http://schemas.openxmlformats.org/officeDocument/2006/relationships/image" Target="../media/image29.emf"/><Relationship Id="rId10" Type="http://schemas.openxmlformats.org/officeDocument/2006/relationships/image" Target="../media/image67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66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g"/><Relationship Id="rId3" Type="http://schemas.openxmlformats.org/officeDocument/2006/relationships/slideLayout" Target="../slideLayouts/slideLayout21.xml"/><Relationship Id="rId7" Type="http://schemas.microsoft.com/office/2007/relationships/hdphoto" Target="../media/hdphoto5.wdp"/><Relationship Id="rId2" Type="http://schemas.openxmlformats.org/officeDocument/2006/relationships/tags" Target="../tags/tag62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1.png"/><Relationship Id="rId11" Type="http://schemas.openxmlformats.org/officeDocument/2006/relationships/image" Target="../media/image69.png"/><Relationship Id="rId5" Type="http://schemas.openxmlformats.org/officeDocument/2006/relationships/image" Target="../media/image29.emf"/><Relationship Id="rId10" Type="http://schemas.microsoft.com/office/2007/relationships/hdphoto" Target="../media/hdphoto7.wdp"/><Relationship Id="rId4" Type="http://schemas.openxmlformats.org/officeDocument/2006/relationships/oleObject" Target="../embeddings/oleObject29.bin"/><Relationship Id="rId9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slideLayout" Target="../slideLayouts/slideLayout21.xml"/><Relationship Id="rId7" Type="http://schemas.microsoft.com/office/2007/relationships/hdphoto" Target="../media/hdphoto3.wdp"/><Relationship Id="rId2" Type="http://schemas.openxmlformats.org/officeDocument/2006/relationships/tags" Target="../tags/tag6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8.png"/><Relationship Id="rId11" Type="http://schemas.openxmlformats.org/officeDocument/2006/relationships/image" Target="../media/image71.png"/><Relationship Id="rId5" Type="http://schemas.openxmlformats.org/officeDocument/2006/relationships/image" Target="../media/image29.emf"/><Relationship Id="rId10" Type="http://schemas.openxmlformats.org/officeDocument/2006/relationships/image" Target="../media/image70.png"/><Relationship Id="rId4" Type="http://schemas.openxmlformats.org/officeDocument/2006/relationships/oleObject" Target="../embeddings/oleObject26.bin"/><Relationship Id="rId9" Type="http://schemas.openxmlformats.org/officeDocument/2006/relationships/chart" Target="../charts/chart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emf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72.jpeg"/><Relationship Id="rId2" Type="http://schemas.openxmlformats.org/officeDocument/2006/relationships/tags" Target="../tags/tag6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59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6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e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29.emf"/><Relationship Id="rId2" Type="http://schemas.openxmlformats.org/officeDocument/2006/relationships/tags" Target="../tags/tag65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26.bin"/><Relationship Id="rId5" Type="http://schemas.openxmlformats.org/officeDocument/2006/relationships/image" Target="../media/image74.jpeg"/><Relationship Id="rId4" Type="http://schemas.openxmlformats.org/officeDocument/2006/relationships/image" Target="../media/image73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76.png"/><Relationship Id="rId2" Type="http://schemas.openxmlformats.org/officeDocument/2006/relationships/tags" Target="../tags/tag6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75.emf"/><Relationship Id="rId5" Type="http://schemas.openxmlformats.org/officeDocument/2006/relationships/image" Target="../media/image29.emf"/><Relationship Id="rId10" Type="http://schemas.openxmlformats.org/officeDocument/2006/relationships/image" Target="../media/image78.jpeg"/><Relationship Id="rId4" Type="http://schemas.openxmlformats.org/officeDocument/2006/relationships/oleObject" Target="../embeddings/oleObject30.bin"/><Relationship Id="rId9" Type="http://schemas.microsoft.com/office/2007/relationships/hdphoto" Target="../media/hdphoto8.wdp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68.xml"/><Relationship Id="rId7" Type="http://schemas.openxmlformats.org/officeDocument/2006/relationships/image" Target="../media/image79.jpeg"/><Relationship Id="rId2" Type="http://schemas.openxmlformats.org/officeDocument/2006/relationships/tags" Target="../tags/tag6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80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tags" Target="../tags/tag47.xml"/><Relationship Id="rId7" Type="http://schemas.openxmlformats.org/officeDocument/2006/relationships/image" Target="../media/image27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slideLayout" Target="../slideLayouts/slideLayout21.xml"/><Relationship Id="rId7" Type="http://schemas.openxmlformats.org/officeDocument/2006/relationships/oleObject" Target="../embeddings/oleObject26.bin"/><Relationship Id="rId2" Type="http://schemas.openxmlformats.org/officeDocument/2006/relationships/tags" Target="../tags/tag48.xml"/><Relationship Id="rId1" Type="http://schemas.openxmlformats.org/officeDocument/2006/relationships/vmlDrawing" Target="../drawings/vmlDrawing26.vml"/><Relationship Id="rId6" Type="http://schemas.microsoft.com/office/2007/relationships/hdphoto" Target="../media/hdphoto1.wdp"/><Relationship Id="rId5" Type="http://schemas.openxmlformats.org/officeDocument/2006/relationships/image" Target="../media/image31.png"/><Relationship Id="rId4" Type="http://schemas.openxmlformats.org/officeDocument/2006/relationships/image" Target="../media/image30.jpeg"/><Relationship Id="rId9" Type="http://schemas.openxmlformats.org/officeDocument/2006/relationships/image" Target="../media/image32.tif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3" Type="http://schemas.openxmlformats.org/officeDocument/2006/relationships/slideLayout" Target="../slideLayouts/slideLayout21.xml"/><Relationship Id="rId7" Type="http://schemas.openxmlformats.org/officeDocument/2006/relationships/oleObject" Target="../embeddings/oleObject26.bin"/><Relationship Id="rId2" Type="http://schemas.openxmlformats.org/officeDocument/2006/relationships/tags" Target="../tags/tag49.xml"/><Relationship Id="rId1" Type="http://schemas.openxmlformats.org/officeDocument/2006/relationships/vmlDrawing" Target="../drawings/vmlDrawing27.vml"/><Relationship Id="rId6" Type="http://schemas.microsoft.com/office/2007/relationships/hdphoto" Target="../media/hdphoto1.wdp"/><Relationship Id="rId11" Type="http://schemas.microsoft.com/office/2007/relationships/hdphoto" Target="../media/hdphoto2.wdp"/><Relationship Id="rId5" Type="http://schemas.openxmlformats.org/officeDocument/2006/relationships/image" Target="../media/image31.png"/><Relationship Id="rId10" Type="http://schemas.openxmlformats.org/officeDocument/2006/relationships/image" Target="../media/image33.png"/><Relationship Id="rId4" Type="http://schemas.openxmlformats.org/officeDocument/2006/relationships/image" Target="../media/image30.jpeg"/><Relationship Id="rId9" Type="http://schemas.openxmlformats.org/officeDocument/2006/relationships/image" Target="../media/image32.tif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13" Type="http://schemas.openxmlformats.org/officeDocument/2006/relationships/image" Target="../media/image39.jpe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30.jpeg"/><Relationship Id="rId12" Type="http://schemas.openxmlformats.org/officeDocument/2006/relationships/image" Target="../media/image38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5.jpeg"/><Relationship Id="rId11" Type="http://schemas.openxmlformats.org/officeDocument/2006/relationships/image" Target="../media/image37.jpeg"/><Relationship Id="rId5" Type="http://schemas.openxmlformats.org/officeDocument/2006/relationships/image" Target="../media/image34.jpeg"/><Relationship Id="rId10" Type="http://schemas.openxmlformats.org/officeDocument/2006/relationships/image" Target="../media/image36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9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29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6.bin"/><Relationship Id="rId11" Type="http://schemas.openxmlformats.org/officeDocument/2006/relationships/image" Target="../media/image26.png"/><Relationship Id="rId5" Type="http://schemas.openxmlformats.org/officeDocument/2006/relationships/image" Target="../media/image30.jpeg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43.png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9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30.jpeg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A6A53480-D8CA-4CD9-B28A-B310E8FAE3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reos™ xenografts</a:t>
            </a:r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0E45844-5775-4D17-8296-7EECA1BBCC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9423" y="1916113"/>
            <a:ext cx="11233149" cy="2603605"/>
          </a:xfrm>
        </p:spPr>
        <p:txBody>
          <a:bodyPr/>
          <a:lstStyle/>
          <a:p>
            <a:r>
              <a:rPr lang="en-US" dirty="0"/>
              <a:t>Regenerative</a:t>
            </a:r>
            <a:br>
              <a:rPr lang="en-US" dirty="0"/>
            </a:br>
            <a:r>
              <a:rPr lang="en-US" dirty="0"/>
              <a:t>solution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C24A5A-0087-4709-B98C-5A80961A36F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465304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3C390BEB-2E52-4FF0-9607-D196FB87A23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4067438" cy="6858000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42965D67-BDB4-4E73-BF71-A45F893B27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  <a:p>
            <a:pPr lvl="1"/>
            <a:endParaRPr lang="en-US">
              <a:solidFill>
                <a:schemeClr val="tx1"/>
              </a:solidFill>
            </a:endParaRPr>
          </a:p>
          <a:p>
            <a:endParaRPr lang="en-US"/>
          </a:p>
        </p:txBody>
      </p:sp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2" y="402975"/>
            <a:ext cx="3743994" cy="59787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AU" sz="3600" dirty="0">
                <a:solidFill>
                  <a:prstClr val="white"/>
                </a:solidFill>
              </a:rPr>
              <a:t>3. Enduring resistance to degradation</a:t>
            </a:r>
          </a:p>
          <a:p>
            <a:pPr lvl="0" defTabSz="914400">
              <a:spcBef>
                <a:spcPts val="0"/>
              </a:spcBef>
            </a:pPr>
            <a:endParaRPr lang="en-AU" dirty="0"/>
          </a:p>
          <a:p>
            <a:r>
              <a:rPr lang="en-AU" sz="3200" b="0" dirty="0">
                <a:solidFill>
                  <a:schemeClr val="bg1"/>
                </a:solidFill>
              </a:rPr>
              <a:t>Slower </a:t>
            </a:r>
            <a:r>
              <a:rPr lang="en-AU" sz="3200" b="0" i="1" dirty="0">
                <a:solidFill>
                  <a:schemeClr val="bg1"/>
                </a:solidFill>
              </a:rPr>
              <a:t>in vitro </a:t>
            </a:r>
            <a:r>
              <a:rPr lang="en-AU" sz="3200" b="0" dirty="0">
                <a:solidFill>
                  <a:schemeClr val="bg1"/>
                </a:solidFill>
              </a:rPr>
              <a:t>bio-degradation compared to another chemically non-crosslinked barrier membrane.</a:t>
            </a:r>
            <a:endParaRPr lang="en-AU" sz="3000" dirty="0">
              <a:solidFill>
                <a:prstClr val="white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7B8759A-B079-4E1E-BA46-EE994DEEE658}"/>
              </a:ext>
            </a:extLst>
          </p:cNvPr>
          <p:cNvSpPr/>
          <p:nvPr/>
        </p:nvSpPr>
        <p:spPr>
          <a:xfrm>
            <a:off x="4164672" y="6355136"/>
            <a:ext cx="792871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AU" sz="13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Bozkurt A, </a:t>
            </a:r>
            <a:r>
              <a:rPr lang="en-AU" sz="13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Apel</a:t>
            </a:r>
            <a:r>
              <a:rPr lang="en-AU" sz="13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C, </a:t>
            </a:r>
            <a:r>
              <a:rPr lang="en-AU" sz="13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Sellhaus</a:t>
            </a:r>
            <a:r>
              <a:rPr lang="en-AU" sz="13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B, et al. Differences in degradation </a:t>
            </a:r>
            <a:r>
              <a:rPr lang="en-AU" sz="13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behavior</a:t>
            </a:r>
            <a:r>
              <a:rPr lang="en-AU" sz="13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of two non-cross-linked collagen barrier membranes: an in vitro and in vivo study. Clin Oral Implants Res 2014; 25(12):1403-1411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CAFB280-3748-4FBA-895A-0B026DFE7543}"/>
              </a:ext>
            </a:extLst>
          </p:cNvPr>
          <p:cNvGrpSpPr/>
          <p:nvPr/>
        </p:nvGrpSpPr>
        <p:grpSpPr>
          <a:xfrm>
            <a:off x="4971525" y="1008084"/>
            <a:ext cx="5867593" cy="3799868"/>
            <a:chOff x="4971525" y="1384604"/>
            <a:chExt cx="5867593" cy="3799868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4422D18D-CE0A-4EBD-AEA8-427DD349B14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71525" y="1384604"/>
              <a:ext cx="5867593" cy="3799868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8FB7C17E-B4CF-4007-864B-FB3E5225443F}"/>
                </a:ext>
              </a:extLst>
            </p:cNvPr>
            <p:cNvSpPr/>
            <p:nvPr/>
          </p:nvSpPr>
          <p:spPr>
            <a:xfrm>
              <a:off x="6057900" y="1619250"/>
              <a:ext cx="742950" cy="6762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9501E12E-1061-417A-870B-BDC6B7AC85BC}"/>
              </a:ext>
            </a:extLst>
          </p:cNvPr>
          <p:cNvSpPr txBox="1"/>
          <p:nvPr/>
        </p:nvSpPr>
        <p:spPr>
          <a:xfrm>
            <a:off x="9877579" y="2762167"/>
            <a:ext cx="23144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>
                <a:solidFill>
                  <a:srgbClr val="B6B6B6"/>
                </a:solidFill>
              </a:rPr>
              <a:t>creos™ xenoprotec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8965989-2D31-4718-BEBB-B533FC015A64}"/>
              </a:ext>
            </a:extLst>
          </p:cNvPr>
          <p:cNvSpPr txBox="1"/>
          <p:nvPr/>
        </p:nvSpPr>
        <p:spPr>
          <a:xfrm>
            <a:off x="9877579" y="2005483"/>
            <a:ext cx="24128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400" dirty="0"/>
              <a:t>reference membran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EF9D6B3-0496-4B86-AFFA-362FA968C7B8}"/>
              </a:ext>
            </a:extLst>
          </p:cNvPr>
          <p:cNvSpPr/>
          <p:nvPr/>
        </p:nvSpPr>
        <p:spPr>
          <a:xfrm>
            <a:off x="4481919" y="5009060"/>
            <a:ext cx="753177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/>
              <a:t>creos™ xenoprotect features an almost twofold lower degradation rate compared to a reference chemically non-crosslinked membrane when exposed to natural enzymes in vitro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8CB915C-C03A-44DB-8419-75B1841553E9}"/>
              </a:ext>
            </a:extLst>
          </p:cNvPr>
          <p:cNvSpPr txBox="1"/>
          <p:nvPr/>
        </p:nvSpPr>
        <p:spPr>
          <a:xfrm>
            <a:off x="10226029" y="3933328"/>
            <a:ext cx="1787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i="1" dirty="0"/>
              <a:t>* statistically significan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04C4A57-0BED-43A0-9A4B-D620A6F84A09}"/>
              </a:ext>
            </a:extLst>
          </p:cNvPr>
          <p:cNvSpPr/>
          <p:nvPr/>
        </p:nvSpPr>
        <p:spPr>
          <a:xfrm>
            <a:off x="9726774" y="2062039"/>
            <a:ext cx="3385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i="1" dirty="0"/>
              <a:t>* 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850059517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77E7E896-0CEF-49C3-B1E6-6380218D062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4067438" cy="6858000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2" y="402975"/>
            <a:ext cx="3743994" cy="597877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0"/>
              </a:spcBef>
            </a:pPr>
            <a:r>
              <a:rPr lang="en-AU" sz="4000" dirty="0">
                <a:solidFill>
                  <a:prstClr val="white"/>
                </a:solidFill>
              </a:rPr>
              <a:t>3. Enduring resistance to degradation </a:t>
            </a:r>
            <a:r>
              <a:rPr lang="en-US" sz="4000" baseline="30000" dirty="0">
                <a:solidFill>
                  <a:prstClr val="white"/>
                </a:solidFill>
              </a:rPr>
              <a:t>#</a:t>
            </a:r>
          </a:p>
          <a:p>
            <a:pPr lvl="0" defTabSz="914400">
              <a:spcBef>
                <a:spcPts val="0"/>
              </a:spcBef>
            </a:pPr>
            <a:endParaRPr lang="en-AU" sz="4000" dirty="0">
              <a:solidFill>
                <a:prstClr val="white"/>
              </a:solidFill>
            </a:endParaRPr>
          </a:p>
          <a:p>
            <a:endParaRPr lang="en-AU" dirty="0"/>
          </a:p>
          <a:p>
            <a:endParaRPr lang="en-US" sz="3200" b="0" dirty="0">
              <a:solidFill>
                <a:schemeClr val="bg1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7B8759A-B079-4E1E-BA46-EE994DEEE658}"/>
              </a:ext>
            </a:extLst>
          </p:cNvPr>
          <p:cNvSpPr/>
          <p:nvPr/>
        </p:nvSpPr>
        <p:spPr>
          <a:xfrm>
            <a:off x="4164672" y="6355136"/>
            <a:ext cx="802021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AU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Bozkurt A, </a:t>
            </a:r>
            <a:r>
              <a:rPr lang="en-AU" sz="12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Apel</a:t>
            </a:r>
            <a:r>
              <a:rPr lang="en-AU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C, </a:t>
            </a:r>
            <a:r>
              <a:rPr lang="en-AU" sz="12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Sellhaus</a:t>
            </a:r>
            <a:r>
              <a:rPr lang="en-AU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B, et al. Differences in degradation </a:t>
            </a:r>
            <a:r>
              <a:rPr lang="en-AU" sz="1200" dirty="0" err="1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behavior</a:t>
            </a:r>
            <a:r>
              <a:rPr lang="en-AU" sz="1200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Calibri" panose="020F0502020204030204" pitchFamily="34" charset="0"/>
              </a:rPr>
              <a:t> of two non-cross-linked collagen barrier membranes: an in vitro and in vivo study. Clin Oral Implants Res 2014; 25(12):1403-1411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34EEDD3-EB1B-4DC6-A5DE-5F21829E6614}"/>
              </a:ext>
            </a:extLst>
          </p:cNvPr>
          <p:cNvCxnSpPr>
            <a:cxnSpLocks/>
          </p:cNvCxnSpPr>
          <p:nvPr/>
        </p:nvCxnSpPr>
        <p:spPr>
          <a:xfrm>
            <a:off x="10496672" y="3357510"/>
            <a:ext cx="0" cy="1024353"/>
          </a:xfrm>
          <a:prstGeom prst="straightConnector1">
            <a:avLst/>
          </a:prstGeom>
          <a:ln w="12700">
            <a:solidFill>
              <a:schemeClr val="accent4">
                <a:lumMod val="75000"/>
                <a:lumOff val="25000"/>
              </a:schemeClr>
            </a:solidFill>
            <a:prstDash val="dash"/>
            <a:headEnd type="arrow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3">
            <a:extLst>
              <a:ext uri="{FF2B5EF4-FFF2-40B4-BE49-F238E27FC236}">
                <a16:creationId xmlns:a16="http://schemas.microsoft.com/office/drawing/2014/main" id="{C8A3C9C3-F982-4228-AB43-44D10FBA13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B2C1E0"/>
              </a:clrFrom>
              <a:clrTo>
                <a:srgbClr val="B2C1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737"/>
          <a:stretch/>
        </p:blipFill>
        <p:spPr bwMode="auto">
          <a:xfrm>
            <a:off x="8883773" y="999282"/>
            <a:ext cx="1357138" cy="1652182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</p:spPr>
      </p:pic>
      <p:sp>
        <p:nvSpPr>
          <p:cNvPr id="2" name="Freeform: Shape 1">
            <a:extLst>
              <a:ext uri="{FF2B5EF4-FFF2-40B4-BE49-F238E27FC236}">
                <a16:creationId xmlns:a16="http://schemas.microsoft.com/office/drawing/2014/main" id="{30B6F210-6D7E-4486-94EC-3E18220EAF80}"/>
              </a:ext>
            </a:extLst>
          </p:cNvPr>
          <p:cNvSpPr/>
          <p:nvPr/>
        </p:nvSpPr>
        <p:spPr>
          <a:xfrm>
            <a:off x="8878332" y="1215479"/>
            <a:ext cx="1342894" cy="121644"/>
          </a:xfrm>
          <a:custGeom>
            <a:avLst/>
            <a:gdLst>
              <a:gd name="connsiteX0" fmla="*/ 0 w 1463040"/>
              <a:gd name="connsiteY0" fmla="*/ 7620 h 132527"/>
              <a:gd name="connsiteX1" fmla="*/ 289560 w 1463040"/>
              <a:gd name="connsiteY1" fmla="*/ 0 h 132527"/>
              <a:gd name="connsiteX2" fmla="*/ 449580 w 1463040"/>
              <a:gd name="connsiteY2" fmla="*/ 7620 h 132527"/>
              <a:gd name="connsiteX3" fmla="*/ 495300 w 1463040"/>
              <a:gd name="connsiteY3" fmla="*/ 15240 h 132527"/>
              <a:gd name="connsiteX4" fmla="*/ 571500 w 1463040"/>
              <a:gd name="connsiteY4" fmla="*/ 22860 h 132527"/>
              <a:gd name="connsiteX5" fmla="*/ 640080 w 1463040"/>
              <a:gd name="connsiteY5" fmla="*/ 38100 h 132527"/>
              <a:gd name="connsiteX6" fmla="*/ 739140 w 1463040"/>
              <a:gd name="connsiteY6" fmla="*/ 53340 h 132527"/>
              <a:gd name="connsiteX7" fmla="*/ 762000 w 1463040"/>
              <a:gd name="connsiteY7" fmla="*/ 60960 h 132527"/>
              <a:gd name="connsiteX8" fmla="*/ 868680 w 1463040"/>
              <a:gd name="connsiteY8" fmla="*/ 76200 h 132527"/>
              <a:gd name="connsiteX9" fmla="*/ 944880 w 1463040"/>
              <a:gd name="connsiteY9" fmla="*/ 91440 h 132527"/>
              <a:gd name="connsiteX10" fmla="*/ 1013460 w 1463040"/>
              <a:gd name="connsiteY10" fmla="*/ 106680 h 132527"/>
              <a:gd name="connsiteX11" fmla="*/ 1082040 w 1463040"/>
              <a:gd name="connsiteY11" fmla="*/ 114300 h 132527"/>
              <a:gd name="connsiteX12" fmla="*/ 1463040 w 1463040"/>
              <a:gd name="connsiteY12" fmla="*/ 121920 h 1325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463040" h="132527">
                <a:moveTo>
                  <a:pt x="0" y="7620"/>
                </a:moveTo>
                <a:cubicBezTo>
                  <a:pt x="96520" y="5080"/>
                  <a:pt x="193007" y="0"/>
                  <a:pt x="289560" y="0"/>
                </a:cubicBezTo>
                <a:cubicBezTo>
                  <a:pt x="342960" y="0"/>
                  <a:pt x="396325" y="3675"/>
                  <a:pt x="449580" y="7620"/>
                </a:cubicBezTo>
                <a:cubicBezTo>
                  <a:pt x="464988" y="8761"/>
                  <a:pt x="479969" y="13324"/>
                  <a:pt x="495300" y="15240"/>
                </a:cubicBezTo>
                <a:cubicBezTo>
                  <a:pt x="520630" y="18406"/>
                  <a:pt x="546100" y="20320"/>
                  <a:pt x="571500" y="22860"/>
                </a:cubicBezTo>
                <a:cubicBezTo>
                  <a:pt x="615989" y="37690"/>
                  <a:pt x="573026" y="24689"/>
                  <a:pt x="640080" y="38100"/>
                </a:cubicBezTo>
                <a:cubicBezTo>
                  <a:pt x="722571" y="54598"/>
                  <a:pt x="594930" y="37317"/>
                  <a:pt x="739140" y="53340"/>
                </a:cubicBezTo>
                <a:cubicBezTo>
                  <a:pt x="746760" y="55880"/>
                  <a:pt x="754159" y="59218"/>
                  <a:pt x="762000" y="60960"/>
                </a:cubicBezTo>
                <a:cubicBezTo>
                  <a:pt x="790251" y="67238"/>
                  <a:pt x="842316" y="72904"/>
                  <a:pt x="868680" y="76200"/>
                </a:cubicBezTo>
                <a:cubicBezTo>
                  <a:pt x="915627" y="91849"/>
                  <a:pt x="867828" y="77431"/>
                  <a:pt x="944880" y="91440"/>
                </a:cubicBezTo>
                <a:cubicBezTo>
                  <a:pt x="1005889" y="102533"/>
                  <a:pt x="942874" y="96596"/>
                  <a:pt x="1013460" y="106680"/>
                </a:cubicBezTo>
                <a:cubicBezTo>
                  <a:pt x="1036230" y="109933"/>
                  <a:pt x="1059180" y="111760"/>
                  <a:pt x="1082040" y="114300"/>
                </a:cubicBezTo>
                <a:cubicBezTo>
                  <a:pt x="1225871" y="150258"/>
                  <a:pt x="1102047" y="121920"/>
                  <a:pt x="1463040" y="121920"/>
                </a:cubicBezTo>
              </a:path>
            </a:pathLst>
          </a:custGeom>
          <a:noFill/>
          <a:ln w="190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155486F4-764C-4E94-B5F4-C3B7BAFA0FE9}"/>
              </a:ext>
            </a:extLst>
          </p:cNvPr>
          <p:cNvSpPr/>
          <p:nvPr/>
        </p:nvSpPr>
        <p:spPr>
          <a:xfrm>
            <a:off x="8899315" y="2264614"/>
            <a:ext cx="1328906" cy="80908"/>
          </a:xfrm>
          <a:custGeom>
            <a:avLst/>
            <a:gdLst>
              <a:gd name="connsiteX0" fmla="*/ 0 w 1447800"/>
              <a:gd name="connsiteY0" fmla="*/ 0 h 88147"/>
              <a:gd name="connsiteX1" fmla="*/ 388620 w 1447800"/>
              <a:gd name="connsiteY1" fmla="*/ 7620 h 88147"/>
              <a:gd name="connsiteX2" fmla="*/ 472440 w 1447800"/>
              <a:gd name="connsiteY2" fmla="*/ 22860 h 88147"/>
              <a:gd name="connsiteX3" fmla="*/ 678180 w 1447800"/>
              <a:gd name="connsiteY3" fmla="*/ 38100 h 88147"/>
              <a:gd name="connsiteX4" fmla="*/ 792480 w 1447800"/>
              <a:gd name="connsiteY4" fmla="*/ 53340 h 88147"/>
              <a:gd name="connsiteX5" fmla="*/ 838200 w 1447800"/>
              <a:gd name="connsiteY5" fmla="*/ 60960 h 88147"/>
              <a:gd name="connsiteX6" fmla="*/ 1036320 w 1447800"/>
              <a:gd name="connsiteY6" fmla="*/ 68580 h 88147"/>
              <a:gd name="connsiteX7" fmla="*/ 1066800 w 1447800"/>
              <a:gd name="connsiteY7" fmla="*/ 76200 h 88147"/>
              <a:gd name="connsiteX8" fmla="*/ 1409700 w 1447800"/>
              <a:gd name="connsiteY8" fmla="*/ 76200 h 88147"/>
              <a:gd name="connsiteX9" fmla="*/ 1447800 w 1447800"/>
              <a:gd name="connsiteY9" fmla="*/ 60960 h 88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447800" h="88147">
                <a:moveTo>
                  <a:pt x="0" y="0"/>
                </a:moveTo>
                <a:lnTo>
                  <a:pt x="388620" y="7620"/>
                </a:lnTo>
                <a:cubicBezTo>
                  <a:pt x="611246" y="15167"/>
                  <a:pt x="369868" y="9184"/>
                  <a:pt x="472440" y="22860"/>
                </a:cubicBezTo>
                <a:cubicBezTo>
                  <a:pt x="513073" y="28278"/>
                  <a:pt x="644299" y="35154"/>
                  <a:pt x="678180" y="38100"/>
                </a:cubicBezTo>
                <a:cubicBezTo>
                  <a:pt x="698366" y="39855"/>
                  <a:pt x="770260" y="49921"/>
                  <a:pt x="792480" y="53340"/>
                </a:cubicBezTo>
                <a:cubicBezTo>
                  <a:pt x="807751" y="55689"/>
                  <a:pt x="822780" y="59996"/>
                  <a:pt x="838200" y="60960"/>
                </a:cubicBezTo>
                <a:cubicBezTo>
                  <a:pt x="904160" y="65083"/>
                  <a:pt x="970280" y="66040"/>
                  <a:pt x="1036320" y="68580"/>
                </a:cubicBezTo>
                <a:cubicBezTo>
                  <a:pt x="1046480" y="71120"/>
                  <a:pt x="1056531" y="74146"/>
                  <a:pt x="1066800" y="76200"/>
                </a:cubicBezTo>
                <a:cubicBezTo>
                  <a:pt x="1189071" y="100654"/>
                  <a:pt x="1233004" y="80731"/>
                  <a:pt x="1409700" y="76200"/>
                </a:cubicBezTo>
                <a:cubicBezTo>
                  <a:pt x="1437948" y="66784"/>
                  <a:pt x="1425376" y="72172"/>
                  <a:pt x="1447800" y="60960"/>
                </a:cubicBezTo>
              </a:path>
            </a:pathLst>
          </a:custGeom>
          <a:noFill/>
          <a:ln w="190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46B70B4B-27F7-457C-A6AE-165D4D0CBA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B2C1E0"/>
              </a:clrFrom>
              <a:clrTo>
                <a:srgbClr val="B2C1E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77529" y="2999990"/>
            <a:ext cx="1343366" cy="1652182"/>
          </a:xfrm>
          <a:prstGeom prst="rect">
            <a:avLst/>
          </a:prstGeom>
          <a:noFill/>
          <a:ln w="28575">
            <a:solidFill>
              <a:schemeClr val="tx1">
                <a:lumMod val="65000"/>
                <a:lumOff val="35000"/>
              </a:schemeClr>
            </a:solidFill>
            <a:miter lim="800000"/>
            <a:headEnd/>
            <a:tailEnd/>
          </a:ln>
        </p:spPr>
      </p:pic>
      <p:sp>
        <p:nvSpPr>
          <p:cNvPr id="5" name="Freeform: Shape 4">
            <a:extLst>
              <a:ext uri="{FF2B5EF4-FFF2-40B4-BE49-F238E27FC236}">
                <a16:creationId xmlns:a16="http://schemas.microsoft.com/office/drawing/2014/main" id="{9C900355-FE88-4952-9A90-84E0D4D82AC3}"/>
              </a:ext>
            </a:extLst>
          </p:cNvPr>
          <p:cNvSpPr/>
          <p:nvPr/>
        </p:nvSpPr>
        <p:spPr>
          <a:xfrm>
            <a:off x="8860515" y="3412358"/>
            <a:ext cx="1342894" cy="97919"/>
          </a:xfrm>
          <a:custGeom>
            <a:avLst/>
            <a:gdLst>
              <a:gd name="connsiteX0" fmla="*/ 0 w 1463040"/>
              <a:gd name="connsiteY0" fmla="*/ 15240 h 106680"/>
              <a:gd name="connsiteX1" fmla="*/ 76200 w 1463040"/>
              <a:gd name="connsiteY1" fmla="*/ 22860 h 106680"/>
              <a:gd name="connsiteX2" fmla="*/ 99060 w 1463040"/>
              <a:gd name="connsiteY2" fmla="*/ 30480 h 106680"/>
              <a:gd name="connsiteX3" fmla="*/ 144780 w 1463040"/>
              <a:gd name="connsiteY3" fmla="*/ 15240 h 106680"/>
              <a:gd name="connsiteX4" fmla="*/ 198120 w 1463040"/>
              <a:gd name="connsiteY4" fmla="*/ 0 h 106680"/>
              <a:gd name="connsiteX5" fmla="*/ 274320 w 1463040"/>
              <a:gd name="connsiteY5" fmla="*/ 15240 h 106680"/>
              <a:gd name="connsiteX6" fmla="*/ 327660 w 1463040"/>
              <a:gd name="connsiteY6" fmla="*/ 38100 h 106680"/>
              <a:gd name="connsiteX7" fmla="*/ 342900 w 1463040"/>
              <a:gd name="connsiteY7" fmla="*/ 60960 h 106680"/>
              <a:gd name="connsiteX8" fmla="*/ 388620 w 1463040"/>
              <a:gd name="connsiteY8" fmla="*/ 83820 h 106680"/>
              <a:gd name="connsiteX9" fmla="*/ 457200 w 1463040"/>
              <a:gd name="connsiteY9" fmla="*/ 76200 h 106680"/>
              <a:gd name="connsiteX10" fmla="*/ 472440 w 1463040"/>
              <a:gd name="connsiteY10" fmla="*/ 53340 h 106680"/>
              <a:gd name="connsiteX11" fmla="*/ 495300 w 1463040"/>
              <a:gd name="connsiteY11" fmla="*/ 38100 h 106680"/>
              <a:gd name="connsiteX12" fmla="*/ 541020 w 1463040"/>
              <a:gd name="connsiteY12" fmla="*/ 22860 h 106680"/>
              <a:gd name="connsiteX13" fmla="*/ 617220 w 1463040"/>
              <a:gd name="connsiteY13" fmla="*/ 38100 h 106680"/>
              <a:gd name="connsiteX14" fmla="*/ 685800 w 1463040"/>
              <a:gd name="connsiteY14" fmla="*/ 83820 h 106680"/>
              <a:gd name="connsiteX15" fmla="*/ 708660 w 1463040"/>
              <a:gd name="connsiteY15" fmla="*/ 99060 h 106680"/>
              <a:gd name="connsiteX16" fmla="*/ 731520 w 1463040"/>
              <a:gd name="connsiteY16" fmla="*/ 106680 h 106680"/>
              <a:gd name="connsiteX17" fmla="*/ 838200 w 1463040"/>
              <a:gd name="connsiteY17" fmla="*/ 83820 h 106680"/>
              <a:gd name="connsiteX18" fmla="*/ 883920 w 1463040"/>
              <a:gd name="connsiteY18" fmla="*/ 68580 h 106680"/>
              <a:gd name="connsiteX19" fmla="*/ 906780 w 1463040"/>
              <a:gd name="connsiteY19" fmla="*/ 60960 h 106680"/>
              <a:gd name="connsiteX20" fmla="*/ 967740 w 1463040"/>
              <a:gd name="connsiteY20" fmla="*/ 68580 h 106680"/>
              <a:gd name="connsiteX21" fmla="*/ 990600 w 1463040"/>
              <a:gd name="connsiteY21" fmla="*/ 91440 h 106680"/>
              <a:gd name="connsiteX22" fmla="*/ 1051560 w 1463040"/>
              <a:gd name="connsiteY22" fmla="*/ 106680 h 106680"/>
              <a:gd name="connsiteX23" fmla="*/ 1120140 w 1463040"/>
              <a:gd name="connsiteY23" fmla="*/ 91440 h 106680"/>
              <a:gd name="connsiteX24" fmla="*/ 1143000 w 1463040"/>
              <a:gd name="connsiteY24" fmla="*/ 76200 h 106680"/>
              <a:gd name="connsiteX25" fmla="*/ 1165860 w 1463040"/>
              <a:gd name="connsiteY25" fmla="*/ 68580 h 106680"/>
              <a:gd name="connsiteX26" fmla="*/ 1219200 w 1463040"/>
              <a:gd name="connsiteY26" fmla="*/ 45720 h 106680"/>
              <a:gd name="connsiteX27" fmla="*/ 1348740 w 1463040"/>
              <a:gd name="connsiteY27" fmla="*/ 68580 h 106680"/>
              <a:gd name="connsiteX28" fmla="*/ 1371600 w 1463040"/>
              <a:gd name="connsiteY28" fmla="*/ 91440 h 106680"/>
              <a:gd name="connsiteX29" fmla="*/ 1463040 w 1463040"/>
              <a:gd name="connsiteY29" fmla="*/ 83820 h 106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463040" h="106680">
                <a:moveTo>
                  <a:pt x="0" y="15240"/>
                </a:moveTo>
                <a:cubicBezTo>
                  <a:pt x="25400" y="17780"/>
                  <a:pt x="50970" y="18978"/>
                  <a:pt x="76200" y="22860"/>
                </a:cubicBezTo>
                <a:cubicBezTo>
                  <a:pt x="84139" y="24081"/>
                  <a:pt x="91077" y="31367"/>
                  <a:pt x="99060" y="30480"/>
                </a:cubicBezTo>
                <a:cubicBezTo>
                  <a:pt x="115026" y="28706"/>
                  <a:pt x="129195" y="19136"/>
                  <a:pt x="144780" y="15240"/>
                </a:cubicBezTo>
                <a:cubicBezTo>
                  <a:pt x="183052" y="5672"/>
                  <a:pt x="165325" y="10932"/>
                  <a:pt x="198120" y="0"/>
                </a:cubicBezTo>
                <a:cubicBezTo>
                  <a:pt x="217777" y="2808"/>
                  <a:pt x="253041" y="4600"/>
                  <a:pt x="274320" y="15240"/>
                </a:cubicBezTo>
                <a:cubicBezTo>
                  <a:pt x="326943" y="41552"/>
                  <a:pt x="264225" y="22241"/>
                  <a:pt x="327660" y="38100"/>
                </a:cubicBezTo>
                <a:cubicBezTo>
                  <a:pt x="332740" y="45720"/>
                  <a:pt x="336424" y="54484"/>
                  <a:pt x="342900" y="60960"/>
                </a:cubicBezTo>
                <a:cubicBezTo>
                  <a:pt x="357672" y="75732"/>
                  <a:pt x="370027" y="77622"/>
                  <a:pt x="388620" y="83820"/>
                </a:cubicBezTo>
                <a:cubicBezTo>
                  <a:pt x="411480" y="81280"/>
                  <a:pt x="435584" y="84060"/>
                  <a:pt x="457200" y="76200"/>
                </a:cubicBezTo>
                <a:cubicBezTo>
                  <a:pt x="465807" y="73070"/>
                  <a:pt x="465964" y="59816"/>
                  <a:pt x="472440" y="53340"/>
                </a:cubicBezTo>
                <a:cubicBezTo>
                  <a:pt x="478916" y="46864"/>
                  <a:pt x="486931" y="41819"/>
                  <a:pt x="495300" y="38100"/>
                </a:cubicBezTo>
                <a:cubicBezTo>
                  <a:pt x="509980" y="31576"/>
                  <a:pt x="541020" y="22860"/>
                  <a:pt x="541020" y="22860"/>
                </a:cubicBezTo>
                <a:cubicBezTo>
                  <a:pt x="554272" y="24753"/>
                  <a:pt x="598805" y="27870"/>
                  <a:pt x="617220" y="38100"/>
                </a:cubicBezTo>
                <a:lnTo>
                  <a:pt x="685800" y="83820"/>
                </a:lnTo>
                <a:cubicBezTo>
                  <a:pt x="693420" y="88900"/>
                  <a:pt x="699972" y="96164"/>
                  <a:pt x="708660" y="99060"/>
                </a:cubicBezTo>
                <a:lnTo>
                  <a:pt x="731520" y="106680"/>
                </a:lnTo>
                <a:cubicBezTo>
                  <a:pt x="808420" y="97067"/>
                  <a:pt x="773053" y="105536"/>
                  <a:pt x="838200" y="83820"/>
                </a:cubicBezTo>
                <a:lnTo>
                  <a:pt x="883920" y="68580"/>
                </a:lnTo>
                <a:lnTo>
                  <a:pt x="906780" y="60960"/>
                </a:lnTo>
                <a:cubicBezTo>
                  <a:pt x="927100" y="63500"/>
                  <a:pt x="948495" y="61582"/>
                  <a:pt x="967740" y="68580"/>
                </a:cubicBezTo>
                <a:cubicBezTo>
                  <a:pt x="977868" y="72263"/>
                  <a:pt x="981634" y="85462"/>
                  <a:pt x="990600" y="91440"/>
                </a:cubicBezTo>
                <a:cubicBezTo>
                  <a:pt x="1000642" y="98135"/>
                  <a:pt x="1046064" y="105581"/>
                  <a:pt x="1051560" y="106680"/>
                </a:cubicBezTo>
                <a:cubicBezTo>
                  <a:pt x="1069120" y="103753"/>
                  <a:pt x="1101381" y="100819"/>
                  <a:pt x="1120140" y="91440"/>
                </a:cubicBezTo>
                <a:cubicBezTo>
                  <a:pt x="1128331" y="87344"/>
                  <a:pt x="1134809" y="80296"/>
                  <a:pt x="1143000" y="76200"/>
                </a:cubicBezTo>
                <a:cubicBezTo>
                  <a:pt x="1150184" y="72608"/>
                  <a:pt x="1158676" y="72172"/>
                  <a:pt x="1165860" y="68580"/>
                </a:cubicBezTo>
                <a:cubicBezTo>
                  <a:pt x="1218483" y="42268"/>
                  <a:pt x="1155765" y="61579"/>
                  <a:pt x="1219200" y="45720"/>
                </a:cubicBezTo>
                <a:cubicBezTo>
                  <a:pt x="1290289" y="50798"/>
                  <a:pt x="1307706" y="34385"/>
                  <a:pt x="1348740" y="68580"/>
                </a:cubicBezTo>
                <a:cubicBezTo>
                  <a:pt x="1357019" y="75479"/>
                  <a:pt x="1363980" y="83820"/>
                  <a:pt x="1371600" y="91440"/>
                </a:cubicBezTo>
                <a:cubicBezTo>
                  <a:pt x="1452855" y="83315"/>
                  <a:pt x="1422273" y="83820"/>
                  <a:pt x="1463040" y="83820"/>
                </a:cubicBezTo>
              </a:path>
            </a:pathLst>
          </a:custGeom>
          <a:noFill/>
          <a:ln w="19050"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B559A5C5-CC0A-43C8-87B9-C8EA4E8FC966}"/>
              </a:ext>
            </a:extLst>
          </p:cNvPr>
          <p:cNvSpPr/>
          <p:nvPr/>
        </p:nvSpPr>
        <p:spPr>
          <a:xfrm>
            <a:off x="8853521" y="3776058"/>
            <a:ext cx="1377865" cy="77106"/>
          </a:xfrm>
          <a:custGeom>
            <a:avLst/>
            <a:gdLst>
              <a:gd name="connsiteX0" fmla="*/ 0 w 1501140"/>
              <a:gd name="connsiteY0" fmla="*/ 0 h 84005"/>
              <a:gd name="connsiteX1" fmla="*/ 137160 w 1501140"/>
              <a:gd name="connsiteY1" fmla="*/ 7620 h 84005"/>
              <a:gd name="connsiteX2" fmla="*/ 182880 w 1501140"/>
              <a:gd name="connsiteY2" fmla="*/ 38100 h 84005"/>
              <a:gd name="connsiteX3" fmla="*/ 205740 w 1501140"/>
              <a:gd name="connsiteY3" fmla="*/ 45720 h 84005"/>
              <a:gd name="connsiteX4" fmla="*/ 320040 w 1501140"/>
              <a:gd name="connsiteY4" fmla="*/ 30480 h 84005"/>
              <a:gd name="connsiteX5" fmla="*/ 342900 w 1501140"/>
              <a:gd name="connsiteY5" fmla="*/ 15240 h 84005"/>
              <a:gd name="connsiteX6" fmla="*/ 441960 w 1501140"/>
              <a:gd name="connsiteY6" fmla="*/ 22860 h 84005"/>
              <a:gd name="connsiteX7" fmla="*/ 670560 w 1501140"/>
              <a:gd name="connsiteY7" fmla="*/ 7620 h 84005"/>
              <a:gd name="connsiteX8" fmla="*/ 739140 w 1501140"/>
              <a:gd name="connsiteY8" fmla="*/ 22860 h 84005"/>
              <a:gd name="connsiteX9" fmla="*/ 762000 w 1501140"/>
              <a:gd name="connsiteY9" fmla="*/ 38100 h 84005"/>
              <a:gd name="connsiteX10" fmla="*/ 784860 w 1501140"/>
              <a:gd name="connsiteY10" fmla="*/ 30480 h 84005"/>
              <a:gd name="connsiteX11" fmla="*/ 807720 w 1501140"/>
              <a:gd name="connsiteY11" fmla="*/ 15240 h 84005"/>
              <a:gd name="connsiteX12" fmla="*/ 853440 w 1501140"/>
              <a:gd name="connsiteY12" fmla="*/ 0 h 84005"/>
              <a:gd name="connsiteX13" fmla="*/ 876300 w 1501140"/>
              <a:gd name="connsiteY13" fmla="*/ 7620 h 84005"/>
              <a:gd name="connsiteX14" fmla="*/ 922020 w 1501140"/>
              <a:gd name="connsiteY14" fmla="*/ 38100 h 84005"/>
              <a:gd name="connsiteX15" fmla="*/ 967740 w 1501140"/>
              <a:gd name="connsiteY15" fmla="*/ 60960 h 84005"/>
              <a:gd name="connsiteX16" fmla="*/ 1074420 w 1501140"/>
              <a:gd name="connsiteY16" fmla="*/ 38100 h 84005"/>
              <a:gd name="connsiteX17" fmla="*/ 1097280 w 1501140"/>
              <a:gd name="connsiteY17" fmla="*/ 30480 h 84005"/>
              <a:gd name="connsiteX18" fmla="*/ 1143000 w 1501140"/>
              <a:gd name="connsiteY18" fmla="*/ 7620 h 84005"/>
              <a:gd name="connsiteX19" fmla="*/ 1242060 w 1501140"/>
              <a:gd name="connsiteY19" fmla="*/ 15240 h 84005"/>
              <a:gd name="connsiteX20" fmla="*/ 1287780 w 1501140"/>
              <a:gd name="connsiteY20" fmla="*/ 30480 h 84005"/>
              <a:gd name="connsiteX21" fmla="*/ 1356360 w 1501140"/>
              <a:gd name="connsiteY21" fmla="*/ 45720 h 84005"/>
              <a:gd name="connsiteX22" fmla="*/ 1394460 w 1501140"/>
              <a:gd name="connsiteY22" fmla="*/ 83820 h 84005"/>
              <a:gd name="connsiteX23" fmla="*/ 1409700 w 1501140"/>
              <a:gd name="connsiteY23" fmla="*/ 60960 h 84005"/>
              <a:gd name="connsiteX24" fmla="*/ 1432560 w 1501140"/>
              <a:gd name="connsiteY24" fmla="*/ 53340 h 84005"/>
              <a:gd name="connsiteX25" fmla="*/ 1501140 w 1501140"/>
              <a:gd name="connsiteY25" fmla="*/ 60960 h 84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501140" h="84005">
                <a:moveTo>
                  <a:pt x="0" y="0"/>
                </a:moveTo>
                <a:cubicBezTo>
                  <a:pt x="45720" y="2540"/>
                  <a:pt x="92332" y="-1719"/>
                  <a:pt x="137160" y="7620"/>
                </a:cubicBezTo>
                <a:cubicBezTo>
                  <a:pt x="155091" y="11356"/>
                  <a:pt x="165504" y="32308"/>
                  <a:pt x="182880" y="38100"/>
                </a:cubicBezTo>
                <a:lnTo>
                  <a:pt x="205740" y="45720"/>
                </a:lnTo>
                <a:cubicBezTo>
                  <a:pt x="226169" y="44018"/>
                  <a:pt x="288914" y="46043"/>
                  <a:pt x="320040" y="30480"/>
                </a:cubicBezTo>
                <a:cubicBezTo>
                  <a:pt x="328231" y="26384"/>
                  <a:pt x="335280" y="20320"/>
                  <a:pt x="342900" y="15240"/>
                </a:cubicBezTo>
                <a:cubicBezTo>
                  <a:pt x="375920" y="17780"/>
                  <a:pt x="408842" y="22860"/>
                  <a:pt x="441960" y="22860"/>
                </a:cubicBezTo>
                <a:cubicBezTo>
                  <a:pt x="590698" y="22860"/>
                  <a:pt x="577212" y="23178"/>
                  <a:pt x="670560" y="7620"/>
                </a:cubicBezTo>
                <a:cubicBezTo>
                  <a:pt x="688120" y="10547"/>
                  <a:pt x="720381" y="13481"/>
                  <a:pt x="739140" y="22860"/>
                </a:cubicBezTo>
                <a:cubicBezTo>
                  <a:pt x="747331" y="26956"/>
                  <a:pt x="754380" y="33020"/>
                  <a:pt x="762000" y="38100"/>
                </a:cubicBezTo>
                <a:cubicBezTo>
                  <a:pt x="769620" y="35560"/>
                  <a:pt x="777676" y="34072"/>
                  <a:pt x="784860" y="30480"/>
                </a:cubicBezTo>
                <a:cubicBezTo>
                  <a:pt x="793051" y="26384"/>
                  <a:pt x="799351" y="18959"/>
                  <a:pt x="807720" y="15240"/>
                </a:cubicBezTo>
                <a:cubicBezTo>
                  <a:pt x="822400" y="8716"/>
                  <a:pt x="853440" y="0"/>
                  <a:pt x="853440" y="0"/>
                </a:cubicBezTo>
                <a:cubicBezTo>
                  <a:pt x="861060" y="2540"/>
                  <a:pt x="869279" y="3719"/>
                  <a:pt x="876300" y="7620"/>
                </a:cubicBezTo>
                <a:cubicBezTo>
                  <a:pt x="892311" y="16515"/>
                  <a:pt x="904644" y="32308"/>
                  <a:pt x="922020" y="38100"/>
                </a:cubicBezTo>
                <a:cubicBezTo>
                  <a:pt x="953568" y="48616"/>
                  <a:pt x="938197" y="41265"/>
                  <a:pt x="967740" y="60960"/>
                </a:cubicBezTo>
                <a:cubicBezTo>
                  <a:pt x="1044640" y="51347"/>
                  <a:pt x="1009273" y="59816"/>
                  <a:pt x="1074420" y="38100"/>
                </a:cubicBezTo>
                <a:cubicBezTo>
                  <a:pt x="1082040" y="35560"/>
                  <a:pt x="1090597" y="34935"/>
                  <a:pt x="1097280" y="30480"/>
                </a:cubicBezTo>
                <a:cubicBezTo>
                  <a:pt x="1126823" y="10785"/>
                  <a:pt x="1111452" y="18136"/>
                  <a:pt x="1143000" y="7620"/>
                </a:cubicBezTo>
                <a:cubicBezTo>
                  <a:pt x="1176020" y="10160"/>
                  <a:pt x="1209348" y="10075"/>
                  <a:pt x="1242060" y="15240"/>
                </a:cubicBezTo>
                <a:cubicBezTo>
                  <a:pt x="1257928" y="17745"/>
                  <a:pt x="1271934" y="27839"/>
                  <a:pt x="1287780" y="30480"/>
                </a:cubicBezTo>
                <a:cubicBezTo>
                  <a:pt x="1341423" y="39420"/>
                  <a:pt x="1318843" y="33214"/>
                  <a:pt x="1356360" y="45720"/>
                </a:cubicBezTo>
                <a:cubicBezTo>
                  <a:pt x="1361141" y="52892"/>
                  <a:pt x="1379519" y="86808"/>
                  <a:pt x="1394460" y="83820"/>
                </a:cubicBezTo>
                <a:cubicBezTo>
                  <a:pt x="1403440" y="82024"/>
                  <a:pt x="1402549" y="66681"/>
                  <a:pt x="1409700" y="60960"/>
                </a:cubicBezTo>
                <a:cubicBezTo>
                  <a:pt x="1415972" y="55942"/>
                  <a:pt x="1424940" y="55880"/>
                  <a:pt x="1432560" y="53340"/>
                </a:cubicBezTo>
                <a:cubicBezTo>
                  <a:pt x="1469878" y="65779"/>
                  <a:pt x="1447388" y="60960"/>
                  <a:pt x="1501140" y="60960"/>
                </a:cubicBezTo>
              </a:path>
            </a:pathLst>
          </a:custGeom>
          <a:noFill/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6A8C92B-7B4B-4C9D-B495-A29842002887}"/>
              </a:ext>
            </a:extLst>
          </p:cNvPr>
          <p:cNvCxnSpPr>
            <a:cxnSpLocks/>
          </p:cNvCxnSpPr>
          <p:nvPr/>
        </p:nvCxnSpPr>
        <p:spPr>
          <a:xfrm>
            <a:off x="10493573" y="1249852"/>
            <a:ext cx="0" cy="1156528"/>
          </a:xfrm>
          <a:prstGeom prst="straightConnector1">
            <a:avLst/>
          </a:prstGeom>
          <a:ln w="12700">
            <a:solidFill>
              <a:srgbClr val="C00000"/>
            </a:solidFill>
            <a:prstDash val="dash"/>
            <a:headEnd type="arrow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A097DE43-2481-4156-B2B9-7F1AB2419036}"/>
              </a:ext>
            </a:extLst>
          </p:cNvPr>
          <p:cNvSpPr/>
          <p:nvPr/>
        </p:nvSpPr>
        <p:spPr>
          <a:xfrm rot="5400000">
            <a:off x="10093747" y="1657821"/>
            <a:ext cx="132600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000" dirty="0">
                <a:solidFill>
                  <a:srgbClr val="C00000"/>
                </a:solidFill>
              </a:rPr>
              <a:t>Initial </a:t>
            </a:r>
            <a:r>
              <a:rPr lang="de-CH" sz="1000" dirty="0" err="1">
                <a:solidFill>
                  <a:srgbClr val="C00000"/>
                </a:solidFill>
              </a:rPr>
              <a:t>thickness</a:t>
            </a:r>
            <a:r>
              <a:rPr lang="de-CH" sz="1000" dirty="0">
                <a:solidFill>
                  <a:srgbClr val="C00000"/>
                </a:solidFill>
              </a:rPr>
              <a:t> </a:t>
            </a:r>
          </a:p>
          <a:p>
            <a:pPr algn="ctr"/>
            <a:r>
              <a:rPr lang="de-CH" sz="1000" dirty="0">
                <a:solidFill>
                  <a:srgbClr val="C00000"/>
                </a:solidFill>
              </a:rPr>
              <a:t>creos™ xenoprotec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A94EA1F-61B9-4311-95EC-1D82B895A643}"/>
              </a:ext>
            </a:extLst>
          </p:cNvPr>
          <p:cNvSpPr/>
          <p:nvPr/>
        </p:nvSpPr>
        <p:spPr>
          <a:xfrm rot="5400000">
            <a:off x="10045594" y="3653110"/>
            <a:ext cx="136928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000" dirty="0">
                <a:solidFill>
                  <a:srgbClr val="8A8D8F"/>
                </a:solidFill>
              </a:rPr>
              <a:t>Initial </a:t>
            </a:r>
            <a:r>
              <a:rPr lang="de-CH" sz="1000" dirty="0" err="1">
                <a:solidFill>
                  <a:srgbClr val="8A8D8F"/>
                </a:solidFill>
              </a:rPr>
              <a:t>thickness</a:t>
            </a:r>
            <a:r>
              <a:rPr lang="de-CH" sz="1000" dirty="0">
                <a:solidFill>
                  <a:srgbClr val="8A8D8F"/>
                </a:solidFill>
              </a:rPr>
              <a:t> </a:t>
            </a:r>
          </a:p>
          <a:p>
            <a:pPr algn="ctr"/>
            <a:r>
              <a:rPr lang="de-CH" sz="1000" dirty="0" err="1">
                <a:solidFill>
                  <a:srgbClr val="8A8D8F"/>
                </a:solidFill>
              </a:rPr>
              <a:t>reference</a:t>
            </a:r>
            <a:r>
              <a:rPr lang="de-CH" sz="1000" dirty="0">
                <a:solidFill>
                  <a:srgbClr val="8A8D8F"/>
                </a:solidFill>
              </a:rPr>
              <a:t> </a:t>
            </a:r>
            <a:r>
              <a:rPr lang="de-CH" sz="1000" dirty="0" err="1">
                <a:solidFill>
                  <a:srgbClr val="8A8D8F"/>
                </a:solidFill>
              </a:rPr>
              <a:t>membrane</a:t>
            </a:r>
            <a:endParaRPr lang="de-CH" sz="1000" dirty="0">
              <a:solidFill>
                <a:srgbClr val="8A8D8F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21464DDD-DCBF-48E0-90C2-3E554044CBFB}"/>
              </a:ext>
            </a:extLst>
          </p:cNvPr>
          <p:cNvSpPr/>
          <p:nvPr/>
        </p:nvSpPr>
        <p:spPr>
          <a:xfrm>
            <a:off x="8671533" y="217521"/>
            <a:ext cx="17363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/>
              <a:t>Histology 20 weeks </a:t>
            </a:r>
          </a:p>
          <a:p>
            <a:pPr algn="ctr"/>
            <a:r>
              <a:rPr lang="en-US" sz="1200" dirty="0"/>
              <a:t>after implantation </a:t>
            </a:r>
            <a:endParaRPr lang="de-CH" sz="1200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FA798F6-0233-4E31-96E6-F6C27694A753}"/>
              </a:ext>
            </a:extLst>
          </p:cNvPr>
          <p:cNvSpPr/>
          <p:nvPr/>
        </p:nvSpPr>
        <p:spPr>
          <a:xfrm>
            <a:off x="4307730" y="5243652"/>
            <a:ext cx="77346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After 20 weeks, the thickness of creos™ xenoprotect decreased only slightly, whereas the reference membrane showed a thickness loss of around 50%, confirming the higher stability of creos™ xenoprotect against biodegradation in vivo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1555AD0-2DC6-44DA-9105-F12ECAD8571C}"/>
              </a:ext>
            </a:extLst>
          </p:cNvPr>
          <p:cNvSpPr/>
          <p:nvPr/>
        </p:nvSpPr>
        <p:spPr>
          <a:xfrm>
            <a:off x="178302" y="6111308"/>
            <a:ext cx="330891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aseline="30000" dirty="0">
                <a:solidFill>
                  <a:prstClr val="white"/>
                </a:solidFill>
              </a:rPr>
              <a:t>#</a:t>
            </a:r>
            <a:r>
              <a:rPr lang="en-AU" dirty="0">
                <a:solidFill>
                  <a:schemeClr val="bg1"/>
                </a:solidFill>
              </a:rPr>
              <a:t> as shown in an animal model</a:t>
            </a:r>
            <a:br>
              <a:rPr lang="en-AU" dirty="0">
                <a:solidFill>
                  <a:schemeClr val="bg1"/>
                </a:solidFill>
              </a:rPr>
            </a:br>
            <a:r>
              <a:rPr lang="en-AU" dirty="0">
                <a:solidFill>
                  <a:schemeClr val="bg1"/>
                </a:solidFill>
              </a:rPr>
              <a:t>(rat, subcutaneous)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269B241-B2E5-4928-8A65-5BEB4A267981}"/>
              </a:ext>
            </a:extLst>
          </p:cNvPr>
          <p:cNvSpPr txBox="1"/>
          <p:nvPr/>
        </p:nvSpPr>
        <p:spPr>
          <a:xfrm>
            <a:off x="4307730" y="4787353"/>
            <a:ext cx="17540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i="1" dirty="0"/>
              <a:t>* statistically significant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0B2C381-3C02-4EC9-9E97-60A030B4CEC8}"/>
              </a:ext>
            </a:extLst>
          </p:cNvPr>
          <p:cNvCxnSpPr>
            <a:cxnSpLocks/>
          </p:cNvCxnSpPr>
          <p:nvPr/>
        </p:nvCxnSpPr>
        <p:spPr>
          <a:xfrm flipH="1">
            <a:off x="5246807" y="2491137"/>
            <a:ext cx="2304000" cy="0"/>
          </a:xfrm>
          <a:prstGeom prst="line">
            <a:avLst/>
          </a:prstGeom>
          <a:ln w="12700">
            <a:solidFill>
              <a:srgbClr val="CC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65AC21B9-38B3-436B-B6C9-C53C1B8A6946}"/>
              </a:ext>
            </a:extLst>
          </p:cNvPr>
          <p:cNvCxnSpPr>
            <a:cxnSpLocks/>
          </p:cNvCxnSpPr>
          <p:nvPr/>
        </p:nvCxnSpPr>
        <p:spPr>
          <a:xfrm flipH="1">
            <a:off x="5257483" y="2669546"/>
            <a:ext cx="2304000" cy="0"/>
          </a:xfrm>
          <a:prstGeom prst="line">
            <a:avLst/>
          </a:prstGeom>
          <a:ln w="12700">
            <a:solidFill>
              <a:srgbClr val="8A8D8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5C4D3EF4-D53A-4884-AA4F-34389138E27E}"/>
              </a:ext>
            </a:extLst>
          </p:cNvPr>
          <p:cNvCxnSpPr>
            <a:cxnSpLocks/>
          </p:cNvCxnSpPr>
          <p:nvPr/>
        </p:nvCxnSpPr>
        <p:spPr>
          <a:xfrm>
            <a:off x="5263848" y="1146433"/>
            <a:ext cx="2304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D139668-DF78-4342-8D62-DE9ACF056279}"/>
              </a:ext>
            </a:extLst>
          </p:cNvPr>
          <p:cNvCxnSpPr>
            <a:cxnSpLocks/>
          </p:cNvCxnSpPr>
          <p:nvPr/>
        </p:nvCxnSpPr>
        <p:spPr>
          <a:xfrm>
            <a:off x="5263848" y="1788041"/>
            <a:ext cx="2304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228DFAFC-E926-4965-9CCA-0CFE09CC1653}"/>
              </a:ext>
            </a:extLst>
          </p:cNvPr>
          <p:cNvCxnSpPr>
            <a:cxnSpLocks/>
          </p:cNvCxnSpPr>
          <p:nvPr/>
        </p:nvCxnSpPr>
        <p:spPr>
          <a:xfrm>
            <a:off x="5263848" y="2430647"/>
            <a:ext cx="2304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C6D7D9E9-7798-4797-A386-8E98C38A2A97}"/>
              </a:ext>
            </a:extLst>
          </p:cNvPr>
          <p:cNvCxnSpPr>
            <a:cxnSpLocks/>
          </p:cNvCxnSpPr>
          <p:nvPr/>
        </p:nvCxnSpPr>
        <p:spPr>
          <a:xfrm>
            <a:off x="5263848" y="3076310"/>
            <a:ext cx="2304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40C815E-B7E2-49F0-873B-B9C8A7F4740C}"/>
              </a:ext>
            </a:extLst>
          </p:cNvPr>
          <p:cNvCxnSpPr>
            <a:cxnSpLocks/>
          </p:cNvCxnSpPr>
          <p:nvPr/>
        </p:nvCxnSpPr>
        <p:spPr>
          <a:xfrm>
            <a:off x="5263848" y="3730700"/>
            <a:ext cx="23040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32BC3E4-3A91-4AB3-9744-C9E8E22D7932}"/>
              </a:ext>
            </a:extLst>
          </p:cNvPr>
          <p:cNvCxnSpPr/>
          <p:nvPr/>
        </p:nvCxnSpPr>
        <p:spPr>
          <a:xfrm>
            <a:off x="5260673" y="2438454"/>
            <a:ext cx="0" cy="19244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4C3833C-443C-4694-8DE6-9FF05CBD4764}"/>
              </a:ext>
            </a:extLst>
          </p:cNvPr>
          <p:cNvGrpSpPr/>
          <p:nvPr/>
        </p:nvGrpSpPr>
        <p:grpSpPr>
          <a:xfrm>
            <a:off x="5630762" y="1583585"/>
            <a:ext cx="476482" cy="1955800"/>
            <a:chOff x="4702059" y="2231231"/>
            <a:chExt cx="476482" cy="1955800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5724ADA0-11E9-4F65-A252-669679BAF977}"/>
                </a:ext>
              </a:extLst>
            </p:cNvPr>
            <p:cNvGrpSpPr/>
            <p:nvPr/>
          </p:nvGrpSpPr>
          <p:grpSpPr>
            <a:xfrm>
              <a:off x="4702059" y="2822575"/>
              <a:ext cx="476482" cy="990600"/>
              <a:chOff x="4584701" y="2822575"/>
              <a:chExt cx="476482" cy="990600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64807C97-774F-4EEC-B735-FC719FA2142C}"/>
                  </a:ext>
                </a:extLst>
              </p:cNvPr>
              <p:cNvSpPr/>
              <p:nvPr/>
            </p:nvSpPr>
            <p:spPr>
              <a:xfrm>
                <a:off x="4584938" y="2822575"/>
                <a:ext cx="476245" cy="990600"/>
              </a:xfrm>
              <a:prstGeom prst="rect">
                <a:avLst/>
              </a:prstGeom>
              <a:solidFill>
                <a:srgbClr val="CC0000"/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cxnSp>
            <p:nvCxnSpPr>
              <p:cNvPr id="60" name="Straight Connector 59">
                <a:extLst>
                  <a:ext uri="{FF2B5EF4-FFF2-40B4-BE49-F238E27FC236}">
                    <a16:creationId xmlns:a16="http://schemas.microsoft.com/office/drawing/2014/main" id="{8F776ADA-EBCF-47D1-AE4B-C2C32107D3D5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4584701" y="3427001"/>
                <a:ext cx="476482" cy="0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90F87F74-A668-4067-B14A-9C1278BA0449}"/>
                </a:ext>
              </a:extLst>
            </p:cNvPr>
            <p:cNvCxnSpPr>
              <a:stCxn id="59" idx="0"/>
            </p:cNvCxnSpPr>
            <p:nvPr/>
          </p:nvCxnSpPr>
          <p:spPr>
            <a:xfrm flipH="1" flipV="1">
              <a:off x="4933950" y="2235200"/>
              <a:ext cx="6469" cy="58737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0A307153-5642-42D2-AAB6-F8480C96EF16}"/>
                </a:ext>
              </a:extLst>
            </p:cNvPr>
            <p:cNvCxnSpPr>
              <a:stCxn id="59" idx="2"/>
            </p:cNvCxnSpPr>
            <p:nvPr/>
          </p:nvCxnSpPr>
          <p:spPr>
            <a:xfrm flipH="1">
              <a:off x="4940300" y="3813175"/>
              <a:ext cx="119" cy="37147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011758B7-3513-4085-9BE2-4D79D95D890A}"/>
                </a:ext>
              </a:extLst>
            </p:cNvPr>
            <p:cNvCxnSpPr/>
            <p:nvPr/>
          </p:nvCxnSpPr>
          <p:spPr>
            <a:xfrm>
              <a:off x="4914106" y="4187031"/>
              <a:ext cx="5238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EA2A2604-E465-48A9-AFA0-AE32F9E0409C}"/>
                </a:ext>
              </a:extLst>
            </p:cNvPr>
            <p:cNvCxnSpPr/>
            <p:nvPr/>
          </p:nvCxnSpPr>
          <p:spPr>
            <a:xfrm>
              <a:off x="4906963" y="2231231"/>
              <a:ext cx="5238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E29EC8F1-01F6-478D-B2FA-A493D610669A}"/>
                </a:ext>
              </a:extLst>
            </p:cNvPr>
            <p:cNvSpPr/>
            <p:nvPr/>
          </p:nvSpPr>
          <p:spPr>
            <a:xfrm>
              <a:off x="4911724" y="3275806"/>
              <a:ext cx="52387" cy="52387"/>
            </a:xfrm>
            <a:prstGeom prst="rect">
              <a:avLst/>
            </a:prstGeom>
            <a:ln w="12700"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CED7839A-0302-4690-B96C-0EE3808DDF3E}"/>
              </a:ext>
            </a:extLst>
          </p:cNvPr>
          <p:cNvGrpSpPr/>
          <p:nvPr/>
        </p:nvGrpSpPr>
        <p:grpSpPr>
          <a:xfrm>
            <a:off x="6877758" y="2942065"/>
            <a:ext cx="476482" cy="1059665"/>
            <a:chOff x="2224063" y="3589711"/>
            <a:chExt cx="476482" cy="1059665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A9177520-968D-47A6-AFAE-1F8F6492FED9}"/>
                </a:ext>
              </a:extLst>
            </p:cNvPr>
            <p:cNvSpPr/>
            <p:nvPr/>
          </p:nvSpPr>
          <p:spPr>
            <a:xfrm>
              <a:off x="2224300" y="4018346"/>
              <a:ext cx="476245" cy="360000"/>
            </a:xfrm>
            <a:prstGeom prst="rect">
              <a:avLst/>
            </a:prstGeom>
            <a:solidFill>
              <a:srgbClr val="8A8D8F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b="1"/>
            </a:p>
          </p:txBody>
        </p: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4C9E66F6-25E8-4474-9AE5-6AF6BE59F51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224063" y="4270397"/>
              <a:ext cx="476482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270387C4-7F8A-41E4-8053-1D33BBBD5906}"/>
                </a:ext>
              </a:extLst>
            </p:cNvPr>
            <p:cNvCxnSpPr>
              <a:cxnSpLocks/>
              <a:stCxn id="62" idx="0"/>
            </p:cNvCxnSpPr>
            <p:nvPr/>
          </p:nvCxnSpPr>
          <p:spPr>
            <a:xfrm flipV="1">
              <a:off x="2462423" y="3589712"/>
              <a:ext cx="0" cy="428634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23CDA977-3FCC-4CE7-8F1B-B60848BF7C4C}"/>
                </a:ext>
              </a:extLst>
            </p:cNvPr>
            <p:cNvCxnSpPr>
              <a:cxnSpLocks/>
              <a:stCxn id="62" idx="2"/>
            </p:cNvCxnSpPr>
            <p:nvPr/>
          </p:nvCxnSpPr>
          <p:spPr>
            <a:xfrm flipH="1">
              <a:off x="2462303" y="4378346"/>
              <a:ext cx="120" cy="27103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56138DEB-EBD0-4EE8-8778-7D2CAE063606}"/>
                </a:ext>
              </a:extLst>
            </p:cNvPr>
            <p:cNvCxnSpPr/>
            <p:nvPr/>
          </p:nvCxnSpPr>
          <p:spPr>
            <a:xfrm>
              <a:off x="2436110" y="4649376"/>
              <a:ext cx="5238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09EC8DA4-A024-4B49-B9A8-7A7CD2D47A28}"/>
                </a:ext>
              </a:extLst>
            </p:cNvPr>
            <p:cNvCxnSpPr/>
            <p:nvPr/>
          </p:nvCxnSpPr>
          <p:spPr>
            <a:xfrm>
              <a:off x="2437311" y="3589711"/>
              <a:ext cx="52388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E1729F62-EE6A-4363-9C8A-4C6E59DB6A4B}"/>
                </a:ext>
              </a:extLst>
            </p:cNvPr>
            <p:cNvSpPr/>
            <p:nvPr/>
          </p:nvSpPr>
          <p:spPr>
            <a:xfrm>
              <a:off x="2436110" y="4163698"/>
              <a:ext cx="52387" cy="52387"/>
            </a:xfrm>
            <a:prstGeom prst="rect">
              <a:avLst/>
            </a:prstGeom>
            <a:ln w="12700"/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b="1"/>
            </a:p>
          </p:txBody>
        </p:sp>
      </p:grp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B8919BE6-5F42-46FF-9821-48C017E2B30F}"/>
              </a:ext>
            </a:extLst>
          </p:cNvPr>
          <p:cNvCxnSpPr/>
          <p:nvPr/>
        </p:nvCxnSpPr>
        <p:spPr>
          <a:xfrm flipV="1">
            <a:off x="5260673" y="838254"/>
            <a:ext cx="0" cy="3524639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8B3F4C8-DA36-4F8B-9478-85792A2D1ED2}"/>
              </a:ext>
            </a:extLst>
          </p:cNvPr>
          <p:cNvCxnSpPr>
            <a:cxnSpLocks/>
          </p:cNvCxnSpPr>
          <p:nvPr/>
        </p:nvCxnSpPr>
        <p:spPr>
          <a:xfrm>
            <a:off x="5260673" y="4362893"/>
            <a:ext cx="230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F16A4A58-7E0B-4E21-BB0A-96AFD4621F9D}"/>
              </a:ext>
            </a:extLst>
          </p:cNvPr>
          <p:cNvCxnSpPr/>
          <p:nvPr/>
        </p:nvCxnSpPr>
        <p:spPr>
          <a:xfrm>
            <a:off x="5203523" y="3730700"/>
            <a:ext cx="571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C522B8AE-4F2C-4993-91F0-34270C91686F}"/>
              </a:ext>
            </a:extLst>
          </p:cNvPr>
          <p:cNvCxnSpPr/>
          <p:nvPr/>
        </p:nvCxnSpPr>
        <p:spPr>
          <a:xfrm>
            <a:off x="5206698" y="3076310"/>
            <a:ext cx="571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8F81FF5-4CF8-4BBB-B800-6CE36DEA7492}"/>
              </a:ext>
            </a:extLst>
          </p:cNvPr>
          <p:cNvCxnSpPr/>
          <p:nvPr/>
        </p:nvCxnSpPr>
        <p:spPr>
          <a:xfrm>
            <a:off x="5201928" y="2433360"/>
            <a:ext cx="571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C04BE7AE-2302-471C-85CF-E2FEE8F001D8}"/>
              </a:ext>
            </a:extLst>
          </p:cNvPr>
          <p:cNvCxnSpPr/>
          <p:nvPr/>
        </p:nvCxnSpPr>
        <p:spPr>
          <a:xfrm>
            <a:off x="5201928" y="1788041"/>
            <a:ext cx="571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9BB1961D-EFF8-43DE-B671-9F5A6874E8FE}"/>
              </a:ext>
            </a:extLst>
          </p:cNvPr>
          <p:cNvCxnSpPr/>
          <p:nvPr/>
        </p:nvCxnSpPr>
        <p:spPr>
          <a:xfrm>
            <a:off x="5200333" y="1146691"/>
            <a:ext cx="5715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3C6DC710-71AA-4FAB-8E2C-902A75E70C8F}"/>
              </a:ext>
            </a:extLst>
          </p:cNvPr>
          <p:cNvSpPr txBox="1"/>
          <p:nvPr/>
        </p:nvSpPr>
        <p:spPr>
          <a:xfrm>
            <a:off x="4633864" y="976151"/>
            <a:ext cx="55015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400" dirty="0"/>
              <a:t>1000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2F8BD2B-786D-42E9-8318-8525FED5280A}"/>
              </a:ext>
            </a:extLst>
          </p:cNvPr>
          <p:cNvSpPr txBox="1"/>
          <p:nvPr/>
        </p:nvSpPr>
        <p:spPr>
          <a:xfrm>
            <a:off x="4729655" y="1583585"/>
            <a:ext cx="4587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400" dirty="0"/>
              <a:t>800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A91C229B-7C9D-4454-95B0-1ACD25FA3848}"/>
              </a:ext>
            </a:extLst>
          </p:cNvPr>
          <p:cNvSpPr txBox="1"/>
          <p:nvPr/>
        </p:nvSpPr>
        <p:spPr>
          <a:xfrm>
            <a:off x="4729289" y="2248694"/>
            <a:ext cx="4587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400" dirty="0"/>
              <a:t>600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9A625FEC-DF81-4E24-8FFE-9DA30EBF2179}"/>
              </a:ext>
            </a:extLst>
          </p:cNvPr>
          <p:cNvSpPr txBox="1"/>
          <p:nvPr/>
        </p:nvSpPr>
        <p:spPr>
          <a:xfrm>
            <a:off x="4725236" y="2874222"/>
            <a:ext cx="4587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400" dirty="0"/>
              <a:t>400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569FAF5-F7AA-442A-9F89-B46039E655FC}"/>
              </a:ext>
            </a:extLst>
          </p:cNvPr>
          <p:cNvSpPr txBox="1"/>
          <p:nvPr/>
        </p:nvSpPr>
        <p:spPr>
          <a:xfrm>
            <a:off x="4725236" y="3550700"/>
            <a:ext cx="4587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400" dirty="0"/>
              <a:t>200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1CDE8AD5-D993-4D3E-BF59-85A3F35D82AD}"/>
              </a:ext>
            </a:extLst>
          </p:cNvPr>
          <p:cNvSpPr txBox="1"/>
          <p:nvPr/>
        </p:nvSpPr>
        <p:spPr>
          <a:xfrm>
            <a:off x="4918381" y="4178227"/>
            <a:ext cx="27603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CH" sz="1400" dirty="0"/>
              <a:t>0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D0098D60-E92E-4F01-A6A5-5153569ABA6A}"/>
              </a:ext>
            </a:extLst>
          </p:cNvPr>
          <p:cNvSpPr txBox="1"/>
          <p:nvPr/>
        </p:nvSpPr>
        <p:spPr>
          <a:xfrm>
            <a:off x="7313205" y="2129901"/>
            <a:ext cx="13260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C00000"/>
                </a:solidFill>
              </a:rPr>
              <a:t>Initial </a:t>
            </a:r>
            <a:r>
              <a:rPr lang="de-CH" sz="1000" dirty="0" err="1">
                <a:solidFill>
                  <a:srgbClr val="C00000"/>
                </a:solidFill>
              </a:rPr>
              <a:t>thickness</a:t>
            </a:r>
            <a:r>
              <a:rPr lang="de-CH" sz="1000" dirty="0">
                <a:solidFill>
                  <a:srgbClr val="C00000"/>
                </a:solidFill>
              </a:rPr>
              <a:t> </a:t>
            </a:r>
          </a:p>
          <a:p>
            <a:r>
              <a:rPr lang="de-CH" sz="1000" dirty="0">
                <a:solidFill>
                  <a:srgbClr val="C00000"/>
                </a:solidFill>
              </a:rPr>
              <a:t>creos™ xenoprotect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AF89466B-726F-46C0-B1CF-8F3AD3A3AD74}"/>
              </a:ext>
            </a:extLst>
          </p:cNvPr>
          <p:cNvSpPr txBox="1"/>
          <p:nvPr/>
        </p:nvSpPr>
        <p:spPr>
          <a:xfrm>
            <a:off x="7316798" y="2624157"/>
            <a:ext cx="13692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000" dirty="0">
                <a:solidFill>
                  <a:srgbClr val="8A8D8F"/>
                </a:solidFill>
              </a:rPr>
              <a:t>Initial </a:t>
            </a:r>
            <a:r>
              <a:rPr lang="de-CH" sz="1000" dirty="0" err="1">
                <a:solidFill>
                  <a:srgbClr val="8A8D8F"/>
                </a:solidFill>
              </a:rPr>
              <a:t>thickness</a:t>
            </a:r>
            <a:r>
              <a:rPr lang="de-CH" sz="1000" dirty="0">
                <a:solidFill>
                  <a:srgbClr val="8A8D8F"/>
                </a:solidFill>
              </a:rPr>
              <a:t> </a:t>
            </a:r>
          </a:p>
          <a:p>
            <a:r>
              <a:rPr lang="de-CH" sz="1000" dirty="0" err="1">
                <a:solidFill>
                  <a:srgbClr val="8A8D8F"/>
                </a:solidFill>
              </a:rPr>
              <a:t>reference</a:t>
            </a:r>
            <a:r>
              <a:rPr lang="de-CH" sz="1000" dirty="0">
                <a:solidFill>
                  <a:srgbClr val="8A8D8F"/>
                </a:solidFill>
              </a:rPr>
              <a:t> </a:t>
            </a:r>
            <a:r>
              <a:rPr lang="de-CH" sz="1000" dirty="0" err="1">
                <a:solidFill>
                  <a:srgbClr val="8A8D8F"/>
                </a:solidFill>
              </a:rPr>
              <a:t>membrane</a:t>
            </a:r>
            <a:endParaRPr lang="de-CH" sz="1000" dirty="0">
              <a:solidFill>
                <a:srgbClr val="8A8D8F"/>
              </a:solidFill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471C5C7A-FE55-46EC-9157-7A612494AC36}"/>
              </a:ext>
            </a:extLst>
          </p:cNvPr>
          <p:cNvSpPr txBox="1"/>
          <p:nvPr/>
        </p:nvSpPr>
        <p:spPr>
          <a:xfrm>
            <a:off x="5250766" y="4428415"/>
            <a:ext cx="14360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000" dirty="0">
                <a:solidFill>
                  <a:srgbClr val="C00000"/>
                </a:solidFill>
              </a:rPr>
              <a:t>creos™ xenoprotect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4B37BFBA-E309-4CCA-8FF6-66C76900676A}"/>
              </a:ext>
            </a:extLst>
          </p:cNvPr>
          <p:cNvSpPr txBox="1"/>
          <p:nvPr/>
        </p:nvSpPr>
        <p:spPr>
          <a:xfrm>
            <a:off x="6465380" y="4428416"/>
            <a:ext cx="14360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000" dirty="0">
                <a:solidFill>
                  <a:srgbClr val="8A8D8F"/>
                </a:solidFill>
              </a:rPr>
              <a:t>reference membran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20820918-37BE-46A0-AA74-1661CCB29924}"/>
              </a:ext>
            </a:extLst>
          </p:cNvPr>
          <p:cNvSpPr txBox="1"/>
          <p:nvPr/>
        </p:nvSpPr>
        <p:spPr>
          <a:xfrm rot="16200000">
            <a:off x="2751431" y="2448052"/>
            <a:ext cx="330646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AU" sz="1400" dirty="0"/>
              <a:t>Membrane thickness [µm]</a:t>
            </a:r>
            <a:endParaRPr lang="en-AU" dirty="0"/>
          </a:p>
          <a:p>
            <a:pPr algn="ctr"/>
            <a:r>
              <a:rPr lang="en-AU" sz="1400" dirty="0"/>
              <a:t>20 weeks after implantation</a:t>
            </a: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21B8307A-73B0-4EC8-A86D-CBBD0B7B3BC9}"/>
              </a:ext>
            </a:extLst>
          </p:cNvPr>
          <p:cNvSpPr/>
          <p:nvPr/>
        </p:nvSpPr>
        <p:spPr>
          <a:xfrm>
            <a:off x="6981197" y="2686528"/>
            <a:ext cx="30008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 dirty="0"/>
              <a:t>*</a:t>
            </a:r>
            <a:endParaRPr lang="de-CH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F541520-EDEB-4505-8ADE-A7793D9321D8}"/>
              </a:ext>
            </a:extLst>
          </p:cNvPr>
          <p:cNvSpPr/>
          <p:nvPr/>
        </p:nvSpPr>
        <p:spPr>
          <a:xfrm>
            <a:off x="8899315" y="719510"/>
            <a:ext cx="132600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1000" dirty="0">
                <a:solidFill>
                  <a:srgbClr val="C00000"/>
                </a:solidFill>
              </a:rPr>
              <a:t>creos™ xenoprotect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05BD5E92-7866-4265-8458-40A10DDB62E6}"/>
              </a:ext>
            </a:extLst>
          </p:cNvPr>
          <p:cNvSpPr/>
          <p:nvPr/>
        </p:nvSpPr>
        <p:spPr>
          <a:xfrm>
            <a:off x="8860515" y="2738299"/>
            <a:ext cx="136928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1000" dirty="0" err="1">
                <a:solidFill>
                  <a:srgbClr val="8A8D8F"/>
                </a:solidFill>
              </a:rPr>
              <a:t>reference</a:t>
            </a:r>
            <a:r>
              <a:rPr lang="de-CH" sz="1000" dirty="0">
                <a:solidFill>
                  <a:srgbClr val="8A8D8F"/>
                </a:solidFill>
              </a:rPr>
              <a:t> </a:t>
            </a:r>
            <a:r>
              <a:rPr lang="de-CH" sz="1000" dirty="0" err="1">
                <a:solidFill>
                  <a:srgbClr val="8A8D8F"/>
                </a:solidFill>
              </a:rPr>
              <a:t>membrane</a:t>
            </a:r>
            <a:endParaRPr lang="de-CH" sz="1000" dirty="0">
              <a:solidFill>
                <a:srgbClr val="8A8D8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3347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97F07F2A-158A-4358-89EA-09E47A7F457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4067438" cy="6858000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42965D67-BDB4-4E73-BF71-A45F893B27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  <a:p>
            <a:pPr lvl="1"/>
            <a:endParaRPr lang="en-US">
              <a:solidFill>
                <a:schemeClr val="tx1"/>
              </a:solidFill>
            </a:endParaRPr>
          </a:p>
          <a:p>
            <a:endParaRPr lang="en-US"/>
          </a:p>
        </p:txBody>
      </p:sp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5"/>
            <a:ext cx="3774573" cy="63593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4. creos™ xenoprotect facilitates bone gain </a:t>
            </a:r>
            <a:r>
              <a:rPr lang="en-US" sz="4000" baseline="30000" dirty="0">
                <a:solidFill>
                  <a:prstClr val="white"/>
                </a:solidFill>
              </a:rPr>
              <a:t>#</a:t>
            </a: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fr-FR" sz="4000" b="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  <a:p>
            <a:pPr defTabSz="914400">
              <a:spcBef>
                <a:spcPts val="0"/>
              </a:spcBef>
            </a:pPr>
            <a:endParaRPr lang="en-AU" sz="1800" b="0" dirty="0">
              <a:solidFill>
                <a:schemeClr val="bg1"/>
              </a:solidFill>
            </a:endParaRPr>
          </a:p>
          <a:p>
            <a:pPr defTabSz="914400">
              <a:spcBef>
                <a:spcPts val="0"/>
              </a:spcBef>
            </a:pPr>
            <a:endParaRPr lang="en-US" sz="3000" dirty="0">
              <a:solidFill>
                <a:prstClr val="white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F1AE293-9161-46EF-A087-A9432CF506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6806" y="3113343"/>
            <a:ext cx="3119272" cy="1736925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C8FC003A-6454-42BF-BDA5-5E62CBE9EE46}"/>
              </a:ext>
            </a:extLst>
          </p:cNvPr>
          <p:cNvSpPr/>
          <p:nvPr/>
        </p:nvSpPr>
        <p:spPr>
          <a:xfrm>
            <a:off x="4124062" y="6115966"/>
            <a:ext cx="83213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de-CH" sz="1200" dirty="0"/>
              <a:t>Omar O, Dahlin A, Gasser A, et al. Tissue </a:t>
            </a:r>
            <a:r>
              <a:rPr lang="de-CH" sz="1200" dirty="0" err="1"/>
              <a:t>dynamics</a:t>
            </a:r>
            <a:r>
              <a:rPr lang="de-CH" sz="1200" dirty="0"/>
              <a:t> and regenerative </a:t>
            </a:r>
            <a:r>
              <a:rPr lang="de-CH" sz="1200" dirty="0" err="1"/>
              <a:t>outcome</a:t>
            </a:r>
            <a:r>
              <a:rPr lang="de-CH" sz="1200" dirty="0"/>
              <a:t> in </a:t>
            </a:r>
            <a:r>
              <a:rPr lang="de-CH" sz="1200" dirty="0" err="1"/>
              <a:t>two</a:t>
            </a:r>
            <a:r>
              <a:rPr lang="de-CH" sz="1200" dirty="0"/>
              <a:t> </a:t>
            </a:r>
            <a:r>
              <a:rPr lang="de-CH" sz="1200" dirty="0" err="1"/>
              <a:t>resorbable</a:t>
            </a:r>
            <a:r>
              <a:rPr lang="de-CH" sz="1200" dirty="0"/>
              <a:t> non-cross-</a:t>
            </a:r>
            <a:r>
              <a:rPr lang="de-CH" sz="1200" dirty="0" err="1"/>
              <a:t>linked</a:t>
            </a:r>
            <a:r>
              <a:rPr lang="de-CH" sz="1200" dirty="0"/>
              <a:t> </a:t>
            </a:r>
            <a:r>
              <a:rPr lang="de-CH" sz="1200" dirty="0" err="1"/>
              <a:t>collagen</a:t>
            </a:r>
            <a:r>
              <a:rPr lang="de-CH" sz="1200" dirty="0"/>
              <a:t> </a:t>
            </a:r>
            <a:r>
              <a:rPr lang="de-CH" sz="1200" dirty="0" err="1"/>
              <a:t>membranes</a:t>
            </a:r>
            <a:r>
              <a:rPr lang="de-CH" sz="1200" dirty="0"/>
              <a:t> </a:t>
            </a:r>
            <a:r>
              <a:rPr lang="de-CH" sz="1200" dirty="0" err="1"/>
              <a:t>for</a:t>
            </a:r>
            <a:r>
              <a:rPr lang="de-CH" sz="1200" dirty="0"/>
              <a:t> </a:t>
            </a:r>
            <a:r>
              <a:rPr lang="de-CH" sz="1200" dirty="0" err="1"/>
              <a:t>guided</a:t>
            </a:r>
            <a:r>
              <a:rPr lang="de-CH" sz="1200" dirty="0"/>
              <a:t> </a:t>
            </a:r>
            <a:r>
              <a:rPr lang="de-CH" sz="1200" dirty="0" err="1"/>
              <a:t>bone</a:t>
            </a:r>
            <a:r>
              <a:rPr lang="de-CH" sz="1200" dirty="0"/>
              <a:t> </a:t>
            </a:r>
            <a:r>
              <a:rPr lang="de-CH" sz="1200" dirty="0" err="1"/>
              <a:t>regeneration</a:t>
            </a:r>
            <a:r>
              <a:rPr lang="de-CH" sz="1200" dirty="0"/>
              <a:t>: A </a:t>
            </a:r>
            <a:r>
              <a:rPr lang="de-CH" sz="1200" dirty="0" err="1"/>
              <a:t>preclinical</a:t>
            </a:r>
            <a:r>
              <a:rPr lang="de-CH" sz="1200" dirty="0"/>
              <a:t> </a:t>
            </a:r>
            <a:r>
              <a:rPr lang="de-CH" sz="1200" dirty="0" err="1"/>
              <a:t>molecular</a:t>
            </a:r>
            <a:r>
              <a:rPr lang="de-CH" sz="1200" dirty="0"/>
              <a:t> and </a:t>
            </a:r>
            <a:r>
              <a:rPr lang="de-CH" sz="1200" dirty="0" err="1"/>
              <a:t>histological</a:t>
            </a:r>
            <a:r>
              <a:rPr lang="de-CH" sz="1200" dirty="0"/>
              <a:t> </a:t>
            </a:r>
            <a:r>
              <a:rPr lang="de-CH" sz="1200" dirty="0" err="1"/>
              <a:t>study</a:t>
            </a:r>
            <a:r>
              <a:rPr lang="de-CH" sz="1200" dirty="0"/>
              <a:t> in vivo. </a:t>
            </a:r>
            <a:r>
              <a:rPr lang="de-CH" sz="1200" dirty="0" err="1"/>
              <a:t>Clin</a:t>
            </a:r>
            <a:r>
              <a:rPr lang="de-CH" sz="1200" dirty="0"/>
              <a:t> Oral </a:t>
            </a:r>
            <a:r>
              <a:rPr lang="de-CH" sz="1200" dirty="0" err="1"/>
              <a:t>Implants</a:t>
            </a:r>
            <a:r>
              <a:rPr lang="de-CH" sz="1200" dirty="0"/>
              <a:t> Res 2018;29(1):7–19. </a:t>
            </a:r>
            <a:endParaRPr lang="de-CH" sz="1300" dirty="0">
              <a:solidFill>
                <a:srgbClr val="000000"/>
              </a:solidFill>
              <a:latin typeface="+mj-lt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0F87922-887E-4286-8698-B7C86F3F03D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2541" y="990525"/>
            <a:ext cx="1885690" cy="1440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353D963-229E-4A8C-8F3F-4F5585882A8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985"/>
          <a:stretch/>
        </p:blipFill>
        <p:spPr>
          <a:xfrm>
            <a:off x="6931396" y="976247"/>
            <a:ext cx="1885690" cy="1440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8128B7D-AB4B-4466-AD84-C253A91D9D1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22"/>
          <a:stretch/>
        </p:blipFill>
        <p:spPr>
          <a:xfrm>
            <a:off x="9092267" y="990525"/>
            <a:ext cx="1885690" cy="1440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D06FA2B-6A42-4013-99F1-3A0367C0EE36}"/>
              </a:ext>
            </a:extLst>
          </p:cNvPr>
          <p:cNvSpPr/>
          <p:nvPr/>
        </p:nvSpPr>
        <p:spPr>
          <a:xfrm>
            <a:off x="4692541" y="2542420"/>
            <a:ext cx="188569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CH" sz="1400" err="1"/>
              <a:t>Bone</a:t>
            </a:r>
            <a:r>
              <a:rPr lang="de-CH" sz="1400"/>
              <a:t> </a:t>
            </a:r>
            <a:r>
              <a:rPr lang="de-CH" sz="1400" err="1"/>
              <a:t>defect</a:t>
            </a:r>
            <a:endParaRPr lang="de-CH" sz="14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A6B9F21-E937-4CD8-A257-13A601C54C65}"/>
              </a:ext>
            </a:extLst>
          </p:cNvPr>
          <p:cNvSpPr/>
          <p:nvPr/>
        </p:nvSpPr>
        <p:spPr>
          <a:xfrm>
            <a:off x="7035710" y="2569710"/>
            <a:ext cx="167706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1400"/>
              <a:t>Bovine </a:t>
            </a:r>
            <a:r>
              <a:rPr lang="de-CH" sz="1400" err="1"/>
              <a:t>bone</a:t>
            </a:r>
            <a:r>
              <a:rPr lang="de-CH" sz="1400"/>
              <a:t> graft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7E78139-6CC5-4B4F-AB68-EAB432E09F73}"/>
              </a:ext>
            </a:extLst>
          </p:cNvPr>
          <p:cNvSpPr/>
          <p:nvPr/>
        </p:nvSpPr>
        <p:spPr>
          <a:xfrm>
            <a:off x="9072231" y="2401969"/>
            <a:ext cx="1914307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dirty="0">
                <a:solidFill>
                  <a:srgbClr val="C00000"/>
                </a:solidFill>
              </a:rPr>
              <a:t>creos™ xenoprotect</a:t>
            </a:r>
          </a:p>
          <a:p>
            <a:pPr algn="ctr"/>
            <a:r>
              <a:rPr lang="de-CH" sz="1400" dirty="0" err="1"/>
              <a:t>or</a:t>
            </a:r>
            <a:endParaRPr lang="de-CH" sz="1400" dirty="0"/>
          </a:p>
          <a:p>
            <a:pPr algn="ctr"/>
            <a:r>
              <a:rPr lang="de-CH" sz="1400" dirty="0" err="1">
                <a:solidFill>
                  <a:schemeClr val="accent5">
                    <a:lumMod val="50000"/>
                  </a:schemeClr>
                </a:solidFill>
              </a:rPr>
              <a:t>reference</a:t>
            </a:r>
            <a:r>
              <a:rPr lang="de-CH" sz="1400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accent5">
                    <a:lumMod val="50000"/>
                  </a:schemeClr>
                </a:solidFill>
              </a:rPr>
              <a:t>membrane</a:t>
            </a:r>
            <a:endParaRPr lang="de-CH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9EE932-A39C-499A-9877-0E09D0D0C6AD}"/>
              </a:ext>
            </a:extLst>
          </p:cNvPr>
          <p:cNvSpPr/>
          <p:nvPr/>
        </p:nvSpPr>
        <p:spPr>
          <a:xfrm>
            <a:off x="4245739" y="5131344"/>
            <a:ext cx="77096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creos™ xenoprotect demonstrated significantly higher new bone formation in the central portion of the defect compare to the reference membrane.</a:t>
            </a:r>
            <a:endParaRPr lang="de-CH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DF44F91-D294-4B59-B054-EA9E158BEF20}"/>
              </a:ext>
            </a:extLst>
          </p:cNvPr>
          <p:cNvSpPr/>
          <p:nvPr/>
        </p:nvSpPr>
        <p:spPr>
          <a:xfrm>
            <a:off x="155764" y="6351854"/>
            <a:ext cx="37745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aseline="30000" dirty="0">
                <a:solidFill>
                  <a:prstClr val="white"/>
                </a:solidFill>
              </a:rPr>
              <a:t>#</a:t>
            </a:r>
            <a:r>
              <a:rPr lang="en-AU" dirty="0">
                <a:solidFill>
                  <a:schemeClr val="bg1"/>
                </a:solidFill>
              </a:rPr>
              <a:t> as shown in an animal model (rat)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50BDDA1-F9A1-4491-91C9-B8631BD5508E}"/>
              </a:ext>
            </a:extLst>
          </p:cNvPr>
          <p:cNvSpPr txBox="1"/>
          <p:nvPr/>
        </p:nvSpPr>
        <p:spPr>
          <a:xfrm>
            <a:off x="9296078" y="3858989"/>
            <a:ext cx="1787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i="1" dirty="0"/>
              <a:t>* statistically significant</a:t>
            </a:r>
          </a:p>
        </p:txBody>
      </p:sp>
    </p:spTree>
    <p:extLst>
      <p:ext uri="{BB962C8B-B14F-4D97-AF65-F5344CB8AC3E}">
        <p14:creationId xmlns:p14="http://schemas.microsoft.com/office/powerpoint/2010/main" val="4194314128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452DB1FB-89D3-447F-8528-78273DB7073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5868" y="3098412"/>
            <a:ext cx="5003030" cy="1550085"/>
          </a:xfrm>
          <a:prstGeom prst="rect">
            <a:avLst/>
          </a:prstGeom>
        </p:spPr>
      </p:pic>
      <p:pic>
        <p:nvPicPr>
          <p:cNvPr id="22" name="Picture 21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320AD2D1-4339-4B6E-9710-C6A515C00FE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4067438" cy="6858000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42965D67-BDB4-4E73-BF71-A45F893B27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  <a:p>
            <a:pPr lvl="1"/>
            <a:endParaRPr lang="en-US">
              <a:solidFill>
                <a:schemeClr val="tx1"/>
              </a:solidFill>
            </a:endParaRPr>
          </a:p>
          <a:p>
            <a:endParaRPr lang="en-US"/>
          </a:p>
        </p:txBody>
      </p:sp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5"/>
            <a:ext cx="3774573" cy="63593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4. </a:t>
            </a:r>
            <a:r>
              <a:rPr lang="en-US" sz="3800" dirty="0">
                <a:solidFill>
                  <a:schemeClr val="bg1"/>
                </a:solidFill>
              </a:rPr>
              <a:t>Good clinical results</a:t>
            </a:r>
            <a:r>
              <a:rPr lang="en-US" sz="4000" b="0" dirty="0">
                <a:solidFill>
                  <a:schemeClr val="bg1"/>
                </a:solidFill>
              </a:rPr>
              <a:t> </a:t>
            </a:r>
            <a:r>
              <a:rPr lang="en-US" sz="4000" dirty="0">
                <a:solidFill>
                  <a:schemeClr val="bg1"/>
                </a:solidFill>
              </a:rPr>
              <a:t>in the treatment of dehiscence defects</a:t>
            </a:r>
            <a:endParaRPr lang="en-US" sz="3800" dirty="0">
              <a:solidFill>
                <a:schemeClr val="bg1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3000" dirty="0">
              <a:solidFill>
                <a:prstClr val="white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8FC003A-6454-42BF-BDA5-5E62CBE9EE46}"/>
              </a:ext>
            </a:extLst>
          </p:cNvPr>
          <p:cNvSpPr/>
          <p:nvPr/>
        </p:nvSpPr>
        <p:spPr>
          <a:xfrm>
            <a:off x="4141725" y="6281144"/>
            <a:ext cx="83213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+mj-lt"/>
              </a:rPr>
              <a:t>Wessing B, Emmerich M, Bozkurt A. Horizontal ridge augmentation with a novel resorbable collagen membrane: a retrospective analysis of 36 consecutive patients. Int J Periodontics Restorative Dent 2016;36(2):179–187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839614A-C3FB-46E1-AFB2-04A6C674FE05}"/>
              </a:ext>
            </a:extLst>
          </p:cNvPr>
          <p:cNvSpPr/>
          <p:nvPr/>
        </p:nvSpPr>
        <p:spPr>
          <a:xfrm>
            <a:off x="4345994" y="4892496"/>
            <a:ext cx="766770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Tx/>
              <a:buChar char="-"/>
            </a:pPr>
            <a:r>
              <a:rPr lang="en-US" dirty="0">
                <a:latin typeface="+mj-lt"/>
              </a:rPr>
              <a:t>Of the 49 included patients, 24 were treated with creos™ xenoprotect and 25 with a reference membrane.</a:t>
            </a:r>
          </a:p>
          <a:p>
            <a:pPr marL="342900" indent="-342900">
              <a:buFontTx/>
              <a:buChar char="-"/>
            </a:pPr>
            <a:r>
              <a:rPr lang="en-US" dirty="0">
                <a:latin typeface="+mj-lt"/>
              </a:rPr>
              <a:t>For creos™ xenoprotect, the mean defect height at implant insertion was 5.1 </a:t>
            </a:r>
            <a:r>
              <a:rPr lang="en-US" dirty="0"/>
              <a:t>±</a:t>
            </a:r>
            <a:r>
              <a:rPr lang="en-US" dirty="0">
                <a:latin typeface="+mj-lt"/>
              </a:rPr>
              <a:t> 2.1 mm and reduced at reentry by 81%.</a:t>
            </a:r>
            <a:endParaRPr lang="en-AU" dirty="0">
              <a:latin typeface="+mj-lt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3C84495-8835-4953-A8F7-CA15731843D5}"/>
              </a:ext>
            </a:extLst>
          </p:cNvPr>
          <p:cNvSpPr/>
          <p:nvPr/>
        </p:nvSpPr>
        <p:spPr>
          <a:xfrm>
            <a:off x="4141725" y="1994840"/>
            <a:ext cx="225414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dirty="0" err="1"/>
              <a:t>Defect</a:t>
            </a:r>
            <a:r>
              <a:rPr lang="de-CH" sz="1400" dirty="0"/>
              <a:t> at </a:t>
            </a:r>
            <a:r>
              <a:rPr lang="de-CH" sz="1400" dirty="0" err="1"/>
              <a:t>implant</a:t>
            </a:r>
            <a:r>
              <a:rPr lang="de-CH" sz="1400" dirty="0"/>
              <a:t> </a:t>
            </a:r>
            <a:r>
              <a:rPr lang="de-CH" sz="1400" dirty="0" err="1"/>
              <a:t>insertion</a:t>
            </a:r>
            <a:endParaRPr lang="de-CH" sz="1400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61D78DA-0414-4477-89F1-F1C5CC6B83D9}"/>
              </a:ext>
            </a:extLst>
          </p:cNvPr>
          <p:cNvSpPr/>
          <p:nvPr/>
        </p:nvSpPr>
        <p:spPr>
          <a:xfrm>
            <a:off x="4165448" y="3307355"/>
            <a:ext cx="25226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1400" dirty="0" err="1"/>
              <a:t>Defect</a:t>
            </a:r>
            <a:r>
              <a:rPr lang="de-CH" sz="1400" dirty="0"/>
              <a:t> at </a:t>
            </a:r>
            <a:r>
              <a:rPr lang="de-CH" sz="1400" dirty="0" err="1"/>
              <a:t>re-entry</a:t>
            </a:r>
            <a:r>
              <a:rPr lang="de-CH" sz="1400" dirty="0"/>
              <a:t> (6 </a:t>
            </a:r>
            <a:r>
              <a:rPr lang="de-CH" sz="1400" dirty="0" err="1"/>
              <a:t>months</a:t>
            </a:r>
            <a:r>
              <a:rPr lang="de-CH" sz="1400" dirty="0"/>
              <a:t>)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86AC74C-7A87-4C15-8911-50AC65BC9C7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53148" y="1429238"/>
            <a:ext cx="4925775" cy="155008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D99AA87-5F82-4050-B60E-5464103C2E01}"/>
              </a:ext>
            </a:extLst>
          </p:cNvPr>
          <p:cNvSpPr/>
          <p:nvPr/>
        </p:nvSpPr>
        <p:spPr>
          <a:xfrm>
            <a:off x="6900761" y="1012800"/>
            <a:ext cx="18437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dirty="0" err="1">
                <a:solidFill>
                  <a:schemeClr val="accent5">
                    <a:lumMod val="50000"/>
                  </a:schemeClr>
                </a:solidFill>
              </a:rPr>
              <a:t>reference</a:t>
            </a:r>
            <a:r>
              <a:rPr lang="de-CH" sz="1400" dirty="0">
                <a:solidFill>
                  <a:schemeClr val="accent5">
                    <a:lumMod val="50000"/>
                  </a:schemeClr>
                </a:solidFill>
              </a:rPr>
              <a:t> </a:t>
            </a:r>
            <a:r>
              <a:rPr lang="de-CH" sz="1400" dirty="0" err="1">
                <a:solidFill>
                  <a:schemeClr val="accent5">
                    <a:lumMod val="50000"/>
                  </a:schemeClr>
                </a:solidFill>
              </a:rPr>
              <a:t>membrane</a:t>
            </a:r>
            <a:endParaRPr lang="de-CH" sz="1400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350BCEB-309F-40F5-BA7D-973ED0BA69BC}"/>
              </a:ext>
            </a:extLst>
          </p:cNvPr>
          <p:cNvSpPr/>
          <p:nvPr/>
        </p:nvSpPr>
        <p:spPr>
          <a:xfrm>
            <a:off x="8985470" y="1009600"/>
            <a:ext cx="178606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CH" sz="1400" dirty="0">
                <a:solidFill>
                  <a:srgbClr val="C00000"/>
                </a:solidFill>
              </a:rPr>
              <a:t>creos™ xenoprotect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2DF342E-9C72-45EE-AB6F-323156E9766D}"/>
              </a:ext>
            </a:extLst>
          </p:cNvPr>
          <p:cNvCxnSpPr/>
          <p:nvPr/>
        </p:nvCxnSpPr>
        <p:spPr>
          <a:xfrm>
            <a:off x="8999621" y="3263790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762052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BE1EDAC-1F0C-4B9C-BEC6-A3ADEA2380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BE1EDAC-1F0C-4B9C-BEC6-A3ADEA238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D587AF-DD48-4337-BA1A-F9692B6956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900" y="284865"/>
            <a:ext cx="3600000" cy="5616574"/>
          </a:xfrm>
        </p:spPr>
        <p:txBody>
          <a:bodyPr/>
          <a:lstStyle/>
          <a:p>
            <a:r>
              <a:rPr lang="en-US" sz="4000" dirty="0"/>
              <a:t>Why creos™ xenoprotect?</a:t>
            </a:r>
          </a:p>
          <a:p>
            <a:pPr lvl="2"/>
            <a:endParaRPr lang="en-US" dirty="0"/>
          </a:p>
          <a:p>
            <a:endParaRPr lang="en-US" dirty="0"/>
          </a:p>
        </p:txBody>
      </p:sp>
      <p:pic>
        <p:nvPicPr>
          <p:cNvPr id="9" name="Picture 8" descr="A picture containing black, sitting, indoor&#10;&#10;Description automatically generated">
            <a:extLst>
              <a:ext uri="{FF2B5EF4-FFF2-40B4-BE49-F238E27FC236}">
                <a16:creationId xmlns:a16="http://schemas.microsoft.com/office/drawing/2014/main" id="{564C6430-C807-45FC-A340-A638D127FF7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900000" flipV="1">
            <a:off x="-1329000" y="3069731"/>
            <a:ext cx="4887343" cy="2725991"/>
          </a:xfrm>
          <a:prstGeom prst="rect">
            <a:avLst/>
          </a:prstGeom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01788EF-7983-422E-83D4-F47CAFED27AE}"/>
              </a:ext>
            </a:extLst>
          </p:cNvPr>
          <p:cNvGrpSpPr/>
          <p:nvPr/>
        </p:nvGrpSpPr>
        <p:grpSpPr>
          <a:xfrm>
            <a:off x="4063200" y="0"/>
            <a:ext cx="4064400" cy="6858000"/>
            <a:chOff x="4063200" y="284865"/>
            <a:chExt cx="4064400" cy="6858000"/>
          </a:xfrm>
        </p:grpSpPr>
        <p:pic>
          <p:nvPicPr>
            <p:cNvPr id="12" name="Picture 11" descr="A person posing for the camera&#10;&#10;Description automatically generated">
              <a:extLst>
                <a:ext uri="{FF2B5EF4-FFF2-40B4-BE49-F238E27FC236}">
                  <a16:creationId xmlns:a16="http://schemas.microsoft.com/office/drawing/2014/main" id="{48055DC9-5C25-43E0-AF4D-5F743C8EA35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63200" y="284865"/>
              <a:ext cx="2031600" cy="6858000"/>
            </a:xfrm>
            <a:prstGeom prst="rect">
              <a:avLst/>
            </a:prstGeom>
          </p:spPr>
        </p:pic>
        <p:pic>
          <p:nvPicPr>
            <p:cNvPr id="13" name="Picture 12" descr="A person posing for the camera&#10;&#10;Description automatically generated">
              <a:extLst>
                <a:ext uri="{FF2B5EF4-FFF2-40B4-BE49-F238E27FC236}">
                  <a16:creationId xmlns:a16="http://schemas.microsoft.com/office/drawing/2014/main" id="{1CADDF5B-EC28-48B5-A1B6-BFE596E922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6096000" y="284865"/>
              <a:ext cx="2031600" cy="6858000"/>
            </a:xfrm>
            <a:prstGeom prst="rect">
              <a:avLst/>
            </a:prstGeom>
          </p:spPr>
        </p:pic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2AF53D99-69CF-4969-BE0C-ED97E32FEA37}"/>
              </a:ext>
            </a:extLst>
          </p:cNvPr>
          <p:cNvSpPr/>
          <p:nvPr/>
        </p:nvSpPr>
        <p:spPr>
          <a:xfrm>
            <a:off x="4063200" y="0"/>
            <a:ext cx="40644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500" b="1" dirty="0">
                <a:sym typeface="Wingdings" panose="05000000000000000000" pitchFamily="2" charset="2"/>
              </a:rPr>
              <a:t>1. Outstanding handling</a:t>
            </a:r>
          </a:p>
          <a:p>
            <a:pPr marL="719138" indent="-365125">
              <a:buFont typeface="Arial" panose="020B0604020202020204" pitchFamily="34" charset="0"/>
              <a:buChar char="•"/>
            </a:pPr>
            <a:r>
              <a:rPr lang="en-US" sz="1200" dirty="0">
                <a:sym typeface="Wingdings" panose="05000000000000000000" pitchFamily="2" charset="2"/>
              </a:rPr>
              <a:t>Low surface expansion when hydrated.</a:t>
            </a:r>
          </a:p>
          <a:p>
            <a:pPr marL="719138" indent="-365125">
              <a:buFont typeface="Arial" panose="020B0604020202020204" pitchFamily="34" charset="0"/>
              <a:buChar char="•"/>
            </a:pPr>
            <a:r>
              <a:rPr lang="en-US" sz="1200" dirty="0">
                <a:sym typeface="Wingdings" panose="05000000000000000000" pitchFamily="2" charset="2"/>
              </a:rPr>
              <a:t>Easy to trim (dry or wet) and does not stick to instruments.</a:t>
            </a:r>
          </a:p>
          <a:p>
            <a:pPr marL="719138" indent="-365125">
              <a:buFont typeface="Arial" panose="020B0604020202020204" pitchFamily="34" charset="0"/>
              <a:buChar char="•"/>
            </a:pPr>
            <a:r>
              <a:rPr lang="en-US" sz="1200" dirty="0">
                <a:sym typeface="Wingdings" panose="05000000000000000000" pitchFamily="2" charset="2"/>
              </a:rPr>
              <a:t>Repositioning in-situ possible.</a:t>
            </a:r>
          </a:p>
          <a:p>
            <a:pPr marL="719138" indent="-365125">
              <a:buFont typeface="Arial" panose="020B0604020202020204" pitchFamily="34" charset="0"/>
              <a:buChar char="•"/>
            </a:pPr>
            <a:r>
              <a:rPr lang="en-US" sz="1200" dirty="0">
                <a:sym typeface="Wingdings" panose="05000000000000000000" pitchFamily="2" charset="2"/>
              </a:rPr>
              <a:t>Both sides can face the defect.</a:t>
            </a:r>
          </a:p>
          <a:p>
            <a:endParaRPr lang="en-US" sz="1600" dirty="0">
              <a:sym typeface="Wingdings" panose="05000000000000000000" pitchFamily="2" charset="2"/>
            </a:endParaRPr>
          </a:p>
          <a:p>
            <a:r>
              <a:rPr lang="en-US" sz="2500" b="1" dirty="0">
                <a:sym typeface="Wingdings" panose="05000000000000000000" pitchFamily="2" charset="2"/>
              </a:rPr>
              <a:t>2. High mechanical strength</a:t>
            </a:r>
          </a:p>
          <a:p>
            <a:pPr marL="719138" indent="-365125">
              <a:buFont typeface="Arial" panose="020B0604020202020204" pitchFamily="34" charset="0"/>
              <a:buChar char="•"/>
            </a:pPr>
            <a:r>
              <a:rPr lang="en-US" sz="1200" dirty="0">
                <a:sym typeface="Wingdings" panose="05000000000000000000" pitchFamily="2" charset="2"/>
              </a:rPr>
              <a:t>Excellent suture retention.</a:t>
            </a:r>
          </a:p>
          <a:p>
            <a:pPr marL="719138" indent="-365125">
              <a:buFont typeface="Arial" panose="020B0604020202020204" pitchFamily="34" charset="0"/>
              <a:buChar char="•"/>
            </a:pPr>
            <a:r>
              <a:rPr lang="en-US" sz="1200" dirty="0">
                <a:sym typeface="Wingdings" panose="05000000000000000000" pitchFamily="2" charset="2"/>
              </a:rPr>
              <a:t>Highly tear-resistant, making it easy to suture </a:t>
            </a:r>
            <a:r>
              <a:rPr lang="en-US" sz="1200" dirty="0">
                <a:solidFill>
                  <a:schemeClr val="bg1"/>
                </a:solidFill>
                <a:sym typeface="Wingdings" panose="05000000000000000000" pitchFamily="2" charset="2"/>
              </a:rPr>
              <a:t>or fixate with pins.</a:t>
            </a:r>
          </a:p>
          <a:p>
            <a:endParaRPr lang="en-US" sz="1600" dirty="0">
              <a:solidFill>
                <a:schemeClr val="bg1"/>
              </a:solidFill>
              <a:sym typeface="Wingdings" panose="05000000000000000000" pitchFamily="2" charset="2"/>
            </a:endParaRPr>
          </a:p>
          <a:p>
            <a:r>
              <a:rPr lang="en-US" sz="2500" b="1" dirty="0">
                <a:solidFill>
                  <a:schemeClr val="bg1"/>
                </a:solidFill>
                <a:sym typeface="Wingdings" panose="05000000000000000000" pitchFamily="2" charset="2"/>
              </a:rPr>
              <a:t>3. Enduring resistance to degradation in vivo </a:t>
            </a:r>
          </a:p>
          <a:p>
            <a:pPr marL="719138" indent="-3651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sym typeface="Wingdings" panose="05000000000000000000" pitchFamily="2" charset="2"/>
              </a:rPr>
              <a:t>Manufacturing process intended to preserve the natural structure of the collagen fiber network, to confer a high resistance to degradation.</a:t>
            </a:r>
          </a:p>
          <a:p>
            <a:endParaRPr lang="en-US" sz="1600" dirty="0">
              <a:solidFill>
                <a:schemeClr val="bg1"/>
              </a:solidFill>
              <a:sym typeface="Wingdings" panose="05000000000000000000" pitchFamily="2" charset="2"/>
            </a:endParaRPr>
          </a:p>
          <a:p>
            <a:r>
              <a:rPr lang="en-US" sz="2500" b="1" dirty="0">
                <a:solidFill>
                  <a:schemeClr val="bg1"/>
                </a:solidFill>
                <a:sym typeface="Wingdings" panose="05000000000000000000" pitchFamily="2" charset="2"/>
              </a:rPr>
              <a:t>4. Facilitates bone gain</a:t>
            </a:r>
          </a:p>
          <a:p>
            <a:pPr marL="719138" lvl="1" indent="-3651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sym typeface="Wingdings" panose="05000000000000000000" pitchFamily="2" charset="2"/>
              </a:rPr>
              <a:t>Good clinical results.</a:t>
            </a:r>
          </a:p>
          <a:p>
            <a:pPr marL="719138" lvl="1" indent="-365125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sym typeface="Wingdings" panose="05000000000000000000" pitchFamily="2" charset="2"/>
              </a:rPr>
              <a:t>Excellent tissue compatibility in vivo.</a:t>
            </a:r>
            <a:endParaRPr lang="en-U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625112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38FC656-660E-4C1A-A6E7-8B1EB9E90721}"/>
              </a:ext>
            </a:extLst>
          </p:cNvPr>
          <p:cNvSpPr/>
          <p:nvPr/>
        </p:nvSpPr>
        <p:spPr>
          <a:xfrm>
            <a:off x="653143" y="2240369"/>
            <a:ext cx="11059432" cy="231893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59488AC-FF44-4D62-BBBC-9E16C9112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1531053"/>
          </a:xfrm>
        </p:spPr>
        <p:txBody>
          <a:bodyPr/>
          <a:lstStyle/>
          <a:p>
            <a:r>
              <a:rPr lang="en-US"/>
              <a:t>More scientific evidence is to be found in </a:t>
            </a:r>
            <a:br>
              <a:rPr lang="en-US"/>
            </a:br>
            <a:r>
              <a:rPr lang="en-US"/>
              <a:t>the following publica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5ACCC7-F1D1-4BE0-A6CB-1C49B2F649CC}"/>
              </a:ext>
            </a:extLst>
          </p:cNvPr>
          <p:cNvSpPr/>
          <p:nvPr/>
        </p:nvSpPr>
        <p:spPr>
          <a:xfrm>
            <a:off x="783772" y="2319937"/>
            <a:ext cx="10928804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/>
              <a:t>Key scientific evidence, creos™ xenoprotect:</a:t>
            </a:r>
          </a:p>
          <a:p>
            <a:pPr>
              <a:spcBef>
                <a:spcPts val="600"/>
              </a:spcBef>
            </a:pPr>
            <a:endParaRPr lang="en-US" sz="1200" b="1" dirty="0"/>
          </a:p>
          <a:p>
            <a:pPr marL="228603" indent="-228603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/>
              <a:t>Gasser A, Wessing B, </a:t>
            </a:r>
            <a:r>
              <a:rPr lang="en-US" sz="1200" b="1" dirty="0" err="1"/>
              <a:t>Eummelen</a:t>
            </a:r>
            <a:r>
              <a:rPr lang="en-US" sz="1200" b="1" dirty="0"/>
              <a:t> L, et al. Mechanical stability of collagen membranes: an in vitro study. J Dent Res 2016;95(Spec </a:t>
            </a:r>
            <a:r>
              <a:rPr lang="en-US" sz="1200" b="1" dirty="0" err="1"/>
              <a:t>Iss</a:t>
            </a:r>
            <a:r>
              <a:rPr lang="en-US" sz="1200" b="1" dirty="0"/>
              <a:t> A): 1683</a:t>
            </a:r>
          </a:p>
          <a:p>
            <a:pPr marL="228603" indent="-228603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/>
              <a:t>Bozkurt A, </a:t>
            </a:r>
            <a:r>
              <a:rPr lang="en-US" sz="1200" b="1" dirty="0" err="1"/>
              <a:t>Apel</a:t>
            </a:r>
            <a:r>
              <a:rPr lang="en-US" sz="1200" b="1" dirty="0"/>
              <a:t> C, </a:t>
            </a:r>
            <a:r>
              <a:rPr lang="en-US" sz="1200" b="1" dirty="0" err="1"/>
              <a:t>Sellhaus</a:t>
            </a:r>
            <a:r>
              <a:rPr lang="en-US" sz="1200" b="1" dirty="0"/>
              <a:t> B, et al. Differences in degradation behavior of two non-cross-linked collagen barrier membranes: an in vitro and in vivo study. Clin Oral Implants Res 2014; 25(12):1403-1411</a:t>
            </a:r>
          </a:p>
          <a:p>
            <a:pPr marL="228603" indent="-228603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/>
              <a:t>Omar O, Dahlin A, Gasser A, et al. Tissue dynamics and regenerative outcome in two resorbable non-cross-linked collagen membranes for guided bone regeneration: A preclinical molecular and histological study in vivo. Clin Oral Implants Res 2018;29(1):7–19. </a:t>
            </a:r>
          </a:p>
          <a:p>
            <a:pPr marL="228603" indent="-228603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/>
              <a:t>Wessing B, Emmerich M, Bozkurt A. Horizontal ridge augmentation with a novel resorbable collagen membrane: a retrospective analysis of 36 consecutive patients. Int J Periodontics Restorative Dent 2016;36(2):179–187.</a:t>
            </a:r>
          </a:p>
        </p:txBody>
      </p:sp>
    </p:spTree>
    <p:extLst>
      <p:ext uri="{BB962C8B-B14F-4D97-AF65-F5344CB8AC3E}">
        <p14:creationId xmlns:p14="http://schemas.microsoft.com/office/powerpoint/2010/main" val="366163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erson in a blue shirt&#10;&#10;Description automatically generated">
            <a:extLst>
              <a:ext uri="{FF2B5EF4-FFF2-40B4-BE49-F238E27FC236}">
                <a16:creationId xmlns:a16="http://schemas.microsoft.com/office/drawing/2014/main" id="{330BBB2D-7362-425C-AF35-A24C5774D1C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fik 7">
            <a:extLst>
              <a:ext uri="{FF2B5EF4-FFF2-40B4-BE49-F238E27FC236}">
                <a16:creationId xmlns:a16="http://schemas.microsoft.com/office/drawing/2014/main" id="{835A1B79-42F6-47BF-84B2-B751926802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B0B36849-6966-49DE-849A-236BEE76D1B9}"/>
              </a:ext>
            </a:extLst>
          </p:cNvPr>
          <p:cNvSpPr txBox="1">
            <a:spLocks/>
          </p:cNvSpPr>
          <p:nvPr/>
        </p:nvSpPr>
        <p:spPr>
          <a:xfrm>
            <a:off x="6203950" y="6425409"/>
            <a:ext cx="4541747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7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EF6143-2F87-429C-AD67-DA6BA7CCC63E}"/>
              </a:ext>
            </a:extLst>
          </p:cNvPr>
          <p:cNvSpPr txBox="1"/>
          <p:nvPr/>
        </p:nvSpPr>
        <p:spPr>
          <a:xfrm>
            <a:off x="111248" y="216591"/>
            <a:ext cx="7335837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Mark Pro Medium" panose="020B0604020201010104" pitchFamily="34" charset="0"/>
                <a:cs typeface="Arial" panose="020B0604020202020204" pitchFamily="34" charset="0"/>
              </a:rPr>
              <a:t>Soft tissue regeneration made smarter.</a:t>
            </a:r>
          </a:p>
          <a:p>
            <a:r>
              <a:rPr lang="en-US" sz="2800" b="1" dirty="0">
                <a:solidFill>
                  <a:schemeClr val="bg1"/>
                </a:solidFill>
                <a:latin typeface="Mark Pro Medium" panose="020B0604020201010104" pitchFamily="34" charset="0"/>
                <a:cs typeface="Arial" panose="020B0604020202020204" pitchFamily="34" charset="0"/>
              </a:rPr>
              <a:t>creos™ </a:t>
            </a:r>
            <a:r>
              <a:rPr lang="en-US" sz="2800" b="1" dirty="0" err="1">
                <a:solidFill>
                  <a:schemeClr val="bg1"/>
                </a:solidFill>
                <a:latin typeface="Mark Pro Medium" panose="020B0604020201010104" pitchFamily="34" charset="0"/>
                <a:cs typeface="Arial" panose="020B0604020202020204" pitchFamily="34" charset="0"/>
              </a:rPr>
              <a:t>mucogain</a:t>
            </a:r>
            <a:endParaRPr lang="en-US" sz="2800" b="1" dirty="0">
              <a:solidFill>
                <a:schemeClr val="bg1"/>
              </a:solidFill>
              <a:latin typeface="Mark Pro Medium" panose="020B0604020201010104" pitchFamily="34" charset="0"/>
              <a:cs typeface="Arial" panose="020B0604020202020204" pitchFamily="34" charset="0"/>
            </a:endParaRPr>
          </a:p>
          <a:p>
            <a:endParaRPr lang="en-US" sz="2800" b="1" dirty="0">
              <a:solidFill>
                <a:schemeClr val="bg1"/>
              </a:solidFill>
              <a:latin typeface="Mark Pro Medium" panose="020B0604020201010104" pitchFamily="34" charset="0"/>
              <a:cs typeface="Arial" panose="020B0604020202020204" pitchFamily="34" charset="0"/>
            </a:endParaRPr>
          </a:p>
          <a:p>
            <a:r>
              <a:rPr lang="en-US" sz="2800" b="1" dirty="0">
                <a:solidFill>
                  <a:schemeClr val="bg1"/>
                </a:solidFill>
                <a:latin typeface="Mark Pro Medium" panose="020B0604020201010104" pitchFamily="34" charset="0"/>
                <a:cs typeface="Arial" panose="020B0604020202020204" pitchFamily="34" charset="0"/>
              </a:rPr>
              <a:t>Unique oriented porous structure designed for guided soft tissue regeneration</a:t>
            </a:r>
          </a:p>
          <a:p>
            <a:endParaRPr lang="en-US" sz="2800" b="1" dirty="0">
              <a:solidFill>
                <a:schemeClr val="accent1"/>
              </a:solidFill>
              <a:latin typeface="Mark Pro Medium" panose="020B06040202010101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6753294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5E71D66-1A77-43BD-AFD4-CBBDA852AB84}"/>
              </a:ext>
            </a:extLst>
          </p:cNvPr>
          <p:cNvSpPr/>
          <p:nvPr/>
        </p:nvSpPr>
        <p:spPr>
          <a:xfrm>
            <a:off x="0" y="0"/>
            <a:ext cx="1222041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3CE98B-B077-4EBE-8FF7-286E74B88DA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3CE98B-B077-4EBE-8FF7-286E74B88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971D60-2A95-4674-89AF-0DADEAE0A3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DD65B4-5D28-7E4B-AEDA-E58EA25409C0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1B5FA4-0F59-4BC7-9EF0-B0DEC870807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3911636" y="370500"/>
            <a:ext cx="8311055" cy="6487500"/>
          </a:xfrm>
          <a:prstGeom prst="rect">
            <a:avLst/>
          </a:prstGeom>
        </p:spPr>
      </p:pic>
      <p:pic>
        <p:nvPicPr>
          <p:cNvPr id="8" name="Grafik 12">
            <a:extLst>
              <a:ext uri="{FF2B5EF4-FFF2-40B4-BE49-F238E27FC236}">
                <a16:creationId xmlns:a16="http://schemas.microsoft.com/office/drawing/2014/main" id="{C54E4F03-8F70-4763-9184-F3185DDD379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14643A9D-6163-4F60-8C1F-6391512813F8}"/>
              </a:ext>
            </a:extLst>
          </p:cNvPr>
          <p:cNvGrpSpPr/>
          <p:nvPr/>
        </p:nvGrpSpPr>
        <p:grpSpPr>
          <a:xfrm>
            <a:off x="8019830" y="2944794"/>
            <a:ext cx="1860796" cy="763601"/>
            <a:chOff x="4968183" y="2902604"/>
            <a:chExt cx="1860796" cy="763601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501D0C18-B31F-4552-B530-04C07C227667}"/>
                </a:ext>
              </a:extLst>
            </p:cNvPr>
            <p:cNvCxnSpPr>
              <a:cxnSpLocks/>
              <a:endCxn id="26" idx="3"/>
            </p:cNvCxnSpPr>
            <p:nvPr/>
          </p:nvCxnSpPr>
          <p:spPr>
            <a:xfrm flipH="1" flipV="1">
              <a:off x="4968183" y="2902604"/>
              <a:ext cx="715456" cy="71049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2358EAD-56F8-46A0-9964-A6E145E9481C}"/>
                </a:ext>
              </a:extLst>
            </p:cNvPr>
            <p:cNvCxnSpPr>
              <a:cxnSpLocks/>
              <a:endCxn id="26" idx="5"/>
            </p:cNvCxnSpPr>
            <p:nvPr/>
          </p:nvCxnSpPr>
          <p:spPr>
            <a:xfrm flipV="1">
              <a:off x="6069022" y="2902604"/>
              <a:ext cx="759957" cy="763601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6" name="Picture 25">
            <a:extLst>
              <a:ext uri="{FF2B5EF4-FFF2-40B4-BE49-F238E27FC236}">
                <a16:creationId xmlns:a16="http://schemas.microsoft.com/office/drawing/2014/main" id="{7D48376E-E0FE-42EB-BCBD-EB810351D89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lum bright="20000" contrast="4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4447" y="704361"/>
            <a:ext cx="2631562" cy="2624831"/>
          </a:xfrm>
          <a:prstGeom prst="ellipse">
            <a:avLst/>
          </a:prstGeom>
          <a:ln w="9525" cap="rnd">
            <a:solidFill>
              <a:schemeClr val="bg1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98A32019-936F-4995-895F-536705B00016}"/>
              </a:ext>
            </a:extLst>
          </p:cNvPr>
          <p:cNvSpPr/>
          <p:nvPr/>
        </p:nvSpPr>
        <p:spPr>
          <a:xfrm>
            <a:off x="314008" y="5687302"/>
            <a:ext cx="52370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2000" dirty="0">
                <a:solidFill>
                  <a:schemeClr val="bg1"/>
                </a:solidFill>
                <a:latin typeface="Mark Pro Medium" panose="020B0604020201010104" pitchFamily="34" charset="0"/>
              </a:rPr>
              <a:t>5 Clinically effective</a:t>
            </a:r>
          </a:p>
          <a:p>
            <a:pPr marL="719242" lvl="1" indent="-36517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</a:rPr>
              <a:t>Shown to promote soft tissue health and maintain adequate soft tissue thickness in a clinical study. </a:t>
            </a:r>
            <a:r>
              <a:rPr lang="en-US" sz="1200" baseline="30000" dirty="0">
                <a:solidFill>
                  <a:schemeClr val="bg1"/>
                </a:solidFill>
                <a:latin typeface="Mark Pro Medium" panose="020B0604020201010104" pitchFamily="34" charset="0"/>
              </a:rPr>
              <a:t>2</a:t>
            </a:r>
            <a:endParaRPr lang="en-AU" sz="1200" dirty="0">
              <a:solidFill>
                <a:schemeClr val="bg1"/>
              </a:solidFill>
              <a:latin typeface="Mark Pro Medium" panose="020B06040202010101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83C8BB6-CAE5-4E8B-AB8A-2AD361CAE3E4}"/>
              </a:ext>
            </a:extLst>
          </p:cNvPr>
          <p:cNvSpPr/>
          <p:nvPr/>
        </p:nvSpPr>
        <p:spPr>
          <a:xfrm>
            <a:off x="314961" y="4284207"/>
            <a:ext cx="54886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ark Pro Medium" panose="020B0604020201010104" pitchFamily="34" charset="0"/>
              </a:rPr>
              <a:t>4. Excellent handling</a:t>
            </a:r>
          </a:p>
          <a:p>
            <a:pPr marL="719242" indent="-36517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  <a:sym typeface="Wingdings" panose="05000000000000000000" pitchFamily="2" charset="2"/>
              </a:rPr>
              <a:t>Easy to use.</a:t>
            </a:r>
          </a:p>
          <a:p>
            <a:pPr marL="719242" indent="-36517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  <a:sym typeface="Wingdings" panose="05000000000000000000" pitchFamily="2" charset="2"/>
              </a:rPr>
              <a:t>High suture retention and stress resistance.</a:t>
            </a:r>
          </a:p>
          <a:p>
            <a:pPr marL="719242" indent="-36517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  <a:sym typeface="Wingdings" panose="05000000000000000000" pitchFamily="2" charset="2"/>
              </a:rPr>
              <a:t>Memory effect after hydration and cycling loading in vitro.</a:t>
            </a:r>
          </a:p>
          <a:p>
            <a:pPr marL="719242" indent="-365177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  <a:sym typeface="Wingdings" panose="05000000000000000000" pitchFamily="2" charset="2"/>
              </a:rPr>
              <a:t>Trim to precisely fit surgical site.</a:t>
            </a:r>
          </a:p>
          <a:p>
            <a:pPr marL="719242" indent="-365177">
              <a:buFont typeface="Arial" panose="020B0604020202020204" pitchFamily="34" charset="0"/>
              <a:buChar char="•"/>
            </a:pPr>
            <a:endParaRPr lang="en-US" sz="1200" dirty="0">
              <a:solidFill>
                <a:schemeClr val="bg1"/>
              </a:solidFill>
              <a:latin typeface="Mark Pro Medium" panose="020B0604020201010104" pitchFamily="34" charset="0"/>
              <a:sym typeface="Wingdings" panose="05000000000000000000" pitchFamily="2" charset="2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7E64AA1-98D8-4B3D-B54A-36C2F123109A}"/>
              </a:ext>
            </a:extLst>
          </p:cNvPr>
          <p:cNvSpPr/>
          <p:nvPr/>
        </p:nvSpPr>
        <p:spPr>
          <a:xfrm>
            <a:off x="326453" y="333067"/>
            <a:ext cx="5382004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AutoNum type="arabicPeriod"/>
            </a:pPr>
            <a:r>
              <a:rPr lang="en-US" sz="2000" dirty="0">
                <a:solidFill>
                  <a:schemeClr val="bg1"/>
                </a:solidFill>
                <a:latin typeface="Mark Pro Medium" panose="020B0604020201010104" pitchFamily="34" charset="0"/>
              </a:rPr>
              <a:t>Substitutes the need for a second surgical site </a:t>
            </a:r>
            <a:br>
              <a:rPr lang="en-US" sz="2000" dirty="0">
                <a:solidFill>
                  <a:schemeClr val="bg1"/>
                </a:solidFill>
                <a:latin typeface="Mark Pro Medium" panose="020B0604020201010104" pitchFamily="34" charset="0"/>
              </a:rPr>
            </a:b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</a:rPr>
              <a:t>(often associated with pain and bleeding for the patient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C5F99A9-4C9B-4BAC-9C9B-43CCE40207B5}"/>
              </a:ext>
            </a:extLst>
          </p:cNvPr>
          <p:cNvSpPr/>
          <p:nvPr/>
        </p:nvSpPr>
        <p:spPr>
          <a:xfrm>
            <a:off x="314961" y="1635034"/>
            <a:ext cx="508765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ark Pro Medium" panose="020B0604020201010104" pitchFamily="34" charset="0"/>
              </a:rPr>
              <a:t>2. Patented metho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</a:rPr>
              <a:t>Oriented open porous matrix structure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</a:rPr>
              <a:t>Designed to promote soft tissue regeneration through the migration of cells and blood vessels into the matrix. </a:t>
            </a:r>
            <a:endParaRPr lang="en-US" sz="2000" dirty="0">
              <a:solidFill>
                <a:schemeClr val="bg1"/>
              </a:solidFill>
              <a:latin typeface="Mark Pro Medium" panose="020B06040202010101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D5767D8-AA72-4794-B21B-75415A9F5D6A}"/>
              </a:ext>
            </a:extLst>
          </p:cNvPr>
          <p:cNvSpPr/>
          <p:nvPr/>
        </p:nvSpPr>
        <p:spPr>
          <a:xfrm>
            <a:off x="314961" y="2990398"/>
            <a:ext cx="586709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Mark Pro Medium" panose="020B0604020201010104" pitchFamily="34" charset="0"/>
              </a:rPr>
              <a:t>3. Variety of choice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</a:rPr>
              <a:t>A choice of different sizes and thicknesses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1"/>
                </a:solidFill>
                <a:latin typeface="Mark Pro Medium" panose="020B0604020201010104" pitchFamily="34" charset="0"/>
              </a:rPr>
              <a:t>Designed to replace autologous grafts in several indications.</a:t>
            </a:r>
            <a:r>
              <a:rPr lang="en-US" sz="1200" baseline="30000" dirty="0"/>
              <a:t> </a:t>
            </a:r>
            <a:r>
              <a:rPr lang="en-US" sz="1200" baseline="30000" dirty="0">
                <a:solidFill>
                  <a:schemeClr val="bg1"/>
                </a:solidFill>
              </a:rPr>
              <a:t>1</a:t>
            </a:r>
            <a:endParaRPr lang="en-US" sz="1200" dirty="0">
              <a:solidFill>
                <a:schemeClr val="bg1"/>
              </a:solidFill>
              <a:latin typeface="Mark Pro Medium" panose="020B0604020201010104" pitchFamily="34" charset="0"/>
            </a:endParaRPr>
          </a:p>
          <a:p>
            <a:pPr marL="342900" indent="-342900">
              <a:buAutoNum type="arabicPeriod"/>
            </a:pPr>
            <a:endParaRPr lang="en-US" sz="1200" dirty="0">
              <a:solidFill>
                <a:schemeClr val="bg1"/>
              </a:solidFill>
              <a:latin typeface="Mark Pro Medium" panose="020B0604020201010104" pitchFamily="34" charset="0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5822ED1-AC9E-45CC-85B4-F45130EBF526}"/>
              </a:ext>
            </a:extLst>
          </p:cNvPr>
          <p:cNvSpPr/>
          <p:nvPr/>
        </p:nvSpPr>
        <p:spPr>
          <a:xfrm>
            <a:off x="7765564" y="6032994"/>
            <a:ext cx="4768863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aseline="30000" dirty="0">
                <a:solidFill>
                  <a:schemeClr val="bg1"/>
                </a:solidFill>
              </a:rPr>
              <a:t>1 </a:t>
            </a:r>
            <a:r>
              <a:rPr lang="en-AU" sz="1000" dirty="0">
                <a:solidFill>
                  <a:schemeClr val="bg1"/>
                </a:solidFill>
                <a:latin typeface="Mark Pro Medium" panose="020B0604020201010104" pitchFamily="34" charset="0"/>
              </a:rPr>
              <a:t>See Instructions For Use for full prescribing information, including indications, contraindications, warnings and precautions. </a:t>
            </a:r>
          </a:p>
          <a:p>
            <a:r>
              <a:rPr lang="en-AU" sz="500" dirty="0">
                <a:solidFill>
                  <a:schemeClr val="bg1"/>
                </a:solidFill>
                <a:latin typeface="Mark Pro Medium" panose="020B0604020201010104" pitchFamily="34" charset="0"/>
              </a:rPr>
              <a:t> </a:t>
            </a:r>
          </a:p>
          <a:p>
            <a:r>
              <a:rPr lang="en-US" sz="1000" baseline="30000" dirty="0">
                <a:solidFill>
                  <a:schemeClr val="bg1"/>
                </a:solidFill>
              </a:rPr>
              <a:t>2 </a:t>
            </a:r>
            <a:r>
              <a:rPr lang="en-AU" sz="1000" dirty="0">
                <a:solidFill>
                  <a:schemeClr val="bg1"/>
                </a:solidFill>
                <a:latin typeface="Mark Pro Medium" panose="020B0604020201010104" pitchFamily="34" charset="0"/>
              </a:rPr>
              <a:t>Wessing B et al. Clinical Oral Implant Research 2019.</a:t>
            </a:r>
          </a:p>
        </p:txBody>
      </p:sp>
    </p:spTree>
    <p:extLst>
      <p:ext uri="{BB962C8B-B14F-4D97-AF65-F5344CB8AC3E}">
        <p14:creationId xmlns:p14="http://schemas.microsoft.com/office/powerpoint/2010/main" val="28932622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6B64B3F-B1B8-4B95-B1EA-D370B12D157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lum contras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984" t="1068" r="65667" b="917"/>
          <a:stretch/>
        </p:blipFill>
        <p:spPr>
          <a:xfrm>
            <a:off x="9289143" y="-10600"/>
            <a:ext cx="2902857" cy="6868600"/>
          </a:xfrm>
          <a:prstGeom prst="rect">
            <a:avLst/>
          </a:prstGeom>
          <a:solidFill>
            <a:srgbClr val="FFFFFF">
              <a:shade val="85000"/>
            </a:srgbClr>
          </a:solidFill>
          <a:ln w="127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C086C3D5-4A85-4DCE-81C2-5FFC0CDC1FA9}"/>
              </a:ext>
            </a:extLst>
          </p:cNvPr>
          <p:cNvSpPr/>
          <p:nvPr/>
        </p:nvSpPr>
        <p:spPr>
          <a:xfrm>
            <a:off x="4064002" y="-10600"/>
            <a:ext cx="5731050" cy="6868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AU" dirty="0">
              <a:solidFill>
                <a:schemeClr val="tx1"/>
              </a:solidFill>
            </a:endParaRPr>
          </a:p>
          <a:p>
            <a:pPr marL="342900" indent="-342900">
              <a:buFont typeface="Symbol" panose="05050102010706020507" pitchFamily="18" charset="2"/>
              <a:buChar char="-"/>
            </a:pPr>
            <a:r>
              <a:rPr lang="en-AU" sz="2400" dirty="0">
                <a:solidFill>
                  <a:schemeClr val="tx1"/>
                </a:solidFill>
              </a:rPr>
              <a:t>creos™ </a:t>
            </a:r>
            <a:r>
              <a:rPr lang="en-AU" sz="2400" dirty="0" err="1">
                <a:solidFill>
                  <a:schemeClr val="tx1"/>
                </a:solidFill>
              </a:rPr>
              <a:t>mucogain</a:t>
            </a:r>
            <a:r>
              <a:rPr lang="en-AU" sz="2400" dirty="0">
                <a:solidFill>
                  <a:schemeClr val="tx1"/>
                </a:solidFill>
              </a:rPr>
              <a:t> is a matrix of highly purified porcine collagen and elastin.</a:t>
            </a:r>
          </a:p>
          <a:p>
            <a:pPr marL="342900" indent="-342900">
              <a:buFont typeface="Symbol" panose="05050102010706020507" pitchFamily="18" charset="2"/>
              <a:buChar char="-"/>
            </a:pPr>
            <a:endParaRPr lang="en-AU" sz="2400" dirty="0">
              <a:solidFill>
                <a:schemeClr val="tx1"/>
              </a:solidFill>
            </a:endParaRPr>
          </a:p>
          <a:p>
            <a:pPr marL="342900" indent="-342900">
              <a:buFont typeface="Symbol" panose="05050102010706020507" pitchFamily="18" charset="2"/>
              <a:buChar char="-"/>
            </a:pPr>
            <a:r>
              <a:rPr lang="en-AU" sz="2400" dirty="0">
                <a:solidFill>
                  <a:schemeClr val="tx1"/>
                </a:solidFill>
              </a:rPr>
              <a:t>creos™ </a:t>
            </a:r>
            <a:r>
              <a:rPr lang="en-AU" sz="2400" dirty="0" err="1">
                <a:solidFill>
                  <a:schemeClr val="tx1"/>
                </a:solidFill>
              </a:rPr>
              <a:t>mucogain</a:t>
            </a:r>
            <a:r>
              <a:rPr lang="en-AU" sz="2400" dirty="0">
                <a:solidFill>
                  <a:schemeClr val="tx1"/>
                </a:solidFill>
              </a:rPr>
              <a:t> features </a:t>
            </a:r>
            <a:r>
              <a:rPr lang="en-US" sz="2400" dirty="0">
                <a:solidFill>
                  <a:schemeClr val="tx1"/>
                </a:solidFill>
              </a:rPr>
              <a:t>oriented open pores </a:t>
            </a:r>
            <a:r>
              <a:rPr lang="en-AU" sz="2400" dirty="0">
                <a:solidFill>
                  <a:schemeClr val="tx1"/>
                </a:solidFill>
              </a:rPr>
              <a:t>thanks to a patented manufacturing method.</a:t>
            </a:r>
          </a:p>
          <a:p>
            <a:pPr marL="342900" indent="-342900">
              <a:buFont typeface="Symbol" panose="05050102010706020507" pitchFamily="18" charset="2"/>
              <a:buChar char="-"/>
            </a:pPr>
            <a:endParaRPr lang="en-AU" sz="2400" dirty="0">
              <a:solidFill>
                <a:schemeClr val="tx1"/>
              </a:solidFill>
            </a:endParaRPr>
          </a:p>
          <a:p>
            <a:pPr marL="342900" lvl="0" indent="-342900">
              <a:buFont typeface="Symbol" panose="05050102010706020507" pitchFamily="18" charset="2"/>
              <a:buChar char="-"/>
            </a:pPr>
            <a:r>
              <a:rPr lang="en-AU" sz="2400" dirty="0">
                <a:solidFill>
                  <a:schemeClr val="tx1"/>
                </a:solidFill>
              </a:rPr>
              <a:t>The resulting matrix features mechanical strength, stress resistance and a memory effect.   </a:t>
            </a:r>
          </a:p>
          <a:p>
            <a:pPr marL="342900" lvl="0" indent="-342900">
              <a:buFont typeface="Symbol" panose="05050102010706020507" pitchFamily="18" charset="2"/>
              <a:buChar char="-"/>
            </a:pPr>
            <a:endParaRPr lang="en-AU" sz="2400" dirty="0">
              <a:solidFill>
                <a:schemeClr val="tx1"/>
              </a:solidFill>
            </a:endParaRPr>
          </a:p>
          <a:p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>
                <a:solidFill>
                  <a:prstClr val="white"/>
                </a:solidFill>
              </a:rPr>
              <a:t>What is xenogain?</a:t>
            </a:r>
          </a:p>
          <a:p>
            <a:pPr lvl="0" defTabSz="914400">
              <a:spcBef>
                <a:spcPts val="0"/>
              </a:spcBef>
            </a:pPr>
            <a:endParaRPr lang="en-US" sz="4000">
              <a:solidFill>
                <a:prstClr val="white"/>
              </a:solidFill>
            </a:endParaRPr>
          </a:p>
        </p:txBody>
      </p:sp>
      <p:pic>
        <p:nvPicPr>
          <p:cNvPr id="17" name="Picture 16" descr="A picture containing snow, sugar, man, food&#10;&#10;Description automatically generated">
            <a:extLst>
              <a:ext uri="{FF2B5EF4-FFF2-40B4-BE49-F238E27FC236}">
                <a16:creationId xmlns:a16="http://schemas.microsoft.com/office/drawing/2014/main" id="{FFEB179C-C1D4-4BDB-A1C3-7C63481A584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44308" y="1293236"/>
            <a:ext cx="5225833" cy="348309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Grafik 12">
            <a:extLst>
              <a:ext uri="{FF2B5EF4-FFF2-40B4-BE49-F238E27FC236}">
                <a16:creationId xmlns:a16="http://schemas.microsoft.com/office/drawing/2014/main" id="{5BDC3E1A-EB3C-45F3-8AC0-F81E5DCBBE2F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pic>
        <p:nvPicPr>
          <p:cNvPr id="10" name="Picture 9" descr="A person in a blue shirt&#10;&#10;Description automatically generated">
            <a:extLst>
              <a:ext uri="{FF2B5EF4-FFF2-40B4-BE49-F238E27FC236}">
                <a16:creationId xmlns:a16="http://schemas.microsoft.com/office/drawing/2014/main" id="{03F3E193-BDC7-4E6C-A65E-FE64608E85A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-1397001" y="1397001"/>
            <a:ext cx="6858002" cy="4064002"/>
          </a:xfrm>
          <a:prstGeom prst="rect">
            <a:avLst/>
          </a:prstGeom>
        </p:spPr>
      </p:pic>
      <p:sp>
        <p:nvSpPr>
          <p:cNvPr id="12" name="Segnaposto testo 10">
            <a:extLst>
              <a:ext uri="{FF2B5EF4-FFF2-40B4-BE49-F238E27FC236}">
                <a16:creationId xmlns:a16="http://schemas.microsoft.com/office/drawing/2014/main" id="{241DFBE9-62A9-4A3B-9106-AF3147AB26C9}"/>
              </a:ext>
            </a:extLst>
          </p:cNvPr>
          <p:cNvSpPr txBox="1">
            <a:spLocks/>
          </p:cNvSpPr>
          <p:nvPr/>
        </p:nvSpPr>
        <p:spPr>
          <a:xfrm>
            <a:off x="330701" y="5553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What is creos™ </a:t>
            </a:r>
            <a:r>
              <a:rPr lang="en-US" sz="4000" dirty="0" err="1">
                <a:solidFill>
                  <a:prstClr val="white"/>
                </a:solidFill>
              </a:rPr>
              <a:t>mucogain</a:t>
            </a:r>
            <a:r>
              <a:rPr lang="en-US" sz="4000" dirty="0">
                <a:solidFill>
                  <a:prstClr val="white"/>
                </a:solidFill>
              </a:rPr>
              <a:t>?</a:t>
            </a: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</p:txBody>
      </p:sp>
      <p:pic>
        <p:nvPicPr>
          <p:cNvPr id="16" name="Picture 1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D9F9907-F128-4C9D-B231-67E53EABC02F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9842" b="89932" l="4365" r="90939">
                        <a14:foregroundMark x1="7474" y1="45475" x2="7474" y2="45475"/>
                        <a14:foregroundMark x1="7804" y1="31561" x2="7804" y2="31561"/>
                        <a14:foregroundMark x1="90939" y1="61991" x2="90939" y2="61991"/>
                        <a14:foregroundMark x1="4431" y1="45136" x2="4431" y2="4513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0701" y="3219863"/>
            <a:ext cx="3114306" cy="2130209"/>
          </a:xfrm>
          <a:prstGeom prst="rect">
            <a:avLst/>
          </a:prstGeom>
          <a:ln w="28575">
            <a:noFill/>
          </a:ln>
        </p:spPr>
      </p:pic>
    </p:spTree>
    <p:extLst>
      <p:ext uri="{BB962C8B-B14F-4D97-AF65-F5344CB8AC3E}">
        <p14:creationId xmlns:p14="http://schemas.microsoft.com/office/powerpoint/2010/main" val="38981605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>
                <a:solidFill>
                  <a:prstClr val="white"/>
                </a:solidFill>
              </a:rPr>
              <a:t>What is xenogain?</a:t>
            </a:r>
          </a:p>
          <a:p>
            <a:pPr lvl="0" defTabSz="914400">
              <a:spcBef>
                <a:spcPts val="0"/>
              </a:spcBef>
            </a:pPr>
            <a:endParaRPr lang="en-US" sz="4000">
              <a:solidFill>
                <a:prstClr val="white"/>
              </a:solidFill>
            </a:endParaRPr>
          </a:p>
        </p:txBody>
      </p:sp>
      <p:pic>
        <p:nvPicPr>
          <p:cNvPr id="17" name="Picture 16" descr="A picture containing snow, sugar, man, food&#10;&#10;Description automatically generated">
            <a:extLst>
              <a:ext uri="{FF2B5EF4-FFF2-40B4-BE49-F238E27FC236}">
                <a16:creationId xmlns:a16="http://schemas.microsoft.com/office/drawing/2014/main" id="{FFEB179C-C1D4-4BDB-A1C3-7C63481A58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644308" y="1293236"/>
            <a:ext cx="5225833" cy="348309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 descr="A person in a blue shirt&#10;&#10;Description automatically generated">
            <a:extLst>
              <a:ext uri="{FF2B5EF4-FFF2-40B4-BE49-F238E27FC236}">
                <a16:creationId xmlns:a16="http://schemas.microsoft.com/office/drawing/2014/main" id="{03F3E193-BDC7-4E6C-A65E-FE64608E85A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5" t="19900" r="11316" b="47388"/>
          <a:stretch/>
        </p:blipFill>
        <p:spPr>
          <a:xfrm rot="5400000" flipH="1">
            <a:off x="-1397001" y="1397001"/>
            <a:ext cx="6858002" cy="4064002"/>
          </a:xfrm>
          <a:prstGeom prst="rect">
            <a:avLst/>
          </a:prstGeom>
        </p:spPr>
      </p:pic>
      <p:sp>
        <p:nvSpPr>
          <p:cNvPr id="12" name="Segnaposto testo 10">
            <a:extLst>
              <a:ext uri="{FF2B5EF4-FFF2-40B4-BE49-F238E27FC236}">
                <a16:creationId xmlns:a16="http://schemas.microsoft.com/office/drawing/2014/main" id="{241DFBE9-62A9-4A3B-9106-AF3147AB26C9}"/>
              </a:ext>
            </a:extLst>
          </p:cNvPr>
          <p:cNvSpPr txBox="1">
            <a:spLocks/>
          </p:cNvSpPr>
          <p:nvPr/>
        </p:nvSpPr>
        <p:spPr>
          <a:xfrm>
            <a:off x="69849" y="555376"/>
            <a:ext cx="4064001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1.  Substitutes the need for a second surgical site</a:t>
            </a:r>
          </a:p>
        </p:txBody>
      </p:sp>
      <p:pic>
        <p:nvPicPr>
          <p:cNvPr id="16" name="Picture 1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D9F9907-F128-4C9D-B231-67E53EABC02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42269" b="70852" l="26727" r="62731">
                        <a14:foregroundMark x1="27993" y1="54986" x2="27993" y2="54986"/>
                        <a14:foregroundMark x1="28131" y1="50020" x2="28131" y2="50020"/>
                        <a14:foregroundMark x1="62731" y1="60880" x2="62731" y2="60880"/>
                        <a14:foregroundMark x1="26727" y1="54865" x2="26727" y2="5486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874" t="38750" r="33496" b="25555"/>
          <a:stretch/>
        </p:blipFill>
        <p:spPr>
          <a:xfrm>
            <a:off x="330701" y="3429000"/>
            <a:ext cx="3114306" cy="2130209"/>
          </a:xfrm>
          <a:prstGeom prst="rect">
            <a:avLst/>
          </a:prstGeom>
          <a:ln w="28575">
            <a:noFill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4141D0B-3AA4-4C22-B111-BBDDE616C017}"/>
              </a:ext>
            </a:extLst>
          </p:cNvPr>
          <p:cNvSpPr txBox="1"/>
          <p:nvPr/>
        </p:nvSpPr>
        <p:spPr>
          <a:xfrm>
            <a:off x="4379803" y="5009085"/>
            <a:ext cx="722263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t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kern="0" dirty="0">
                <a:solidFill>
                  <a:srgbClr val="000000"/>
                </a:solidFill>
              </a:rPr>
              <a:t>No need for a second surgical site</a:t>
            </a:r>
            <a:r>
              <a:rPr lang="en-US" kern="0" dirty="0">
                <a:solidFill>
                  <a:srgbClr val="000000"/>
                </a:solidFill>
              </a:rPr>
              <a:t>, which is associated with post-operative pain, bleeding, swelling and infection.</a:t>
            </a:r>
            <a:r>
              <a:rPr lang="en-US" baseline="30000" dirty="0"/>
              <a:t>1</a:t>
            </a:r>
          </a:p>
        </p:txBody>
      </p:sp>
      <p:sp>
        <p:nvSpPr>
          <p:cNvPr id="15" name="Date Placeholder 1">
            <a:extLst>
              <a:ext uri="{FF2B5EF4-FFF2-40B4-BE49-F238E27FC236}">
                <a16:creationId xmlns:a16="http://schemas.microsoft.com/office/drawing/2014/main" id="{ED885B5E-F622-46E1-A069-93B2B2C11A10}"/>
              </a:ext>
            </a:extLst>
          </p:cNvPr>
          <p:cNvSpPr txBox="1">
            <a:spLocks/>
          </p:cNvSpPr>
          <p:nvPr/>
        </p:nvSpPr>
        <p:spPr>
          <a:xfrm>
            <a:off x="10815075" y="6425409"/>
            <a:ext cx="694899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700" dirty="0"/>
          </a:p>
        </p:txBody>
      </p:sp>
      <p:sp>
        <p:nvSpPr>
          <p:cNvPr id="19" name="Slide Number Placeholder 3">
            <a:extLst>
              <a:ext uri="{FF2B5EF4-FFF2-40B4-BE49-F238E27FC236}">
                <a16:creationId xmlns:a16="http://schemas.microsoft.com/office/drawing/2014/main" id="{459B87ED-4750-4F6F-B7C2-2E3F415B3AFF}"/>
              </a:ext>
            </a:extLst>
          </p:cNvPr>
          <p:cNvSpPr txBox="1">
            <a:spLocks/>
          </p:cNvSpPr>
          <p:nvPr/>
        </p:nvSpPr>
        <p:spPr>
          <a:xfrm>
            <a:off x="11579352" y="6425409"/>
            <a:ext cx="476250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7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6A86697-AFA3-449F-9210-FDB6CBB03520}"/>
              </a:ext>
            </a:extLst>
          </p:cNvPr>
          <p:cNvSpPr/>
          <p:nvPr/>
        </p:nvSpPr>
        <p:spPr>
          <a:xfrm>
            <a:off x="7369846" y="6436826"/>
            <a:ext cx="475001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baseline="30000" dirty="0"/>
              <a:t>1</a:t>
            </a:r>
            <a:r>
              <a:rPr lang="en-US" sz="1100" dirty="0"/>
              <a:t> Harris R.J 2005. Griffin T.J. et al.2006.  Aguirre-</a:t>
            </a:r>
            <a:r>
              <a:rPr lang="en-US" sz="1100" dirty="0" err="1"/>
              <a:t>Zorzano</a:t>
            </a:r>
            <a:r>
              <a:rPr lang="en-US" sz="1100" dirty="0"/>
              <a:t> L.A. et.al 2017</a:t>
            </a:r>
          </a:p>
          <a:p>
            <a:endParaRPr lang="en-US" sz="1200" dirty="0"/>
          </a:p>
        </p:txBody>
      </p:sp>
      <p:pic>
        <p:nvPicPr>
          <p:cNvPr id="21" name="Picture 502" descr="Upper picture : single- incision technique (SI). A standardized graft is harvested in a full thickness manner. Lower left : modified single-incision technique (mSI). During demarcation of the graft, a 1-mm step of connective tissue is retained in the coronal aspect. Lower right : trap-door technique (TD). Following three incisions (one horizontal, two vertical), a partial thickness flap is prepared, and a connective tissue graft is harvested from the bone surfaceÂ ">
            <a:extLst>
              <a:ext uri="{FF2B5EF4-FFF2-40B4-BE49-F238E27FC236}">
                <a16:creationId xmlns:a16="http://schemas.microsoft.com/office/drawing/2014/main" id="{862B5A84-3D9F-4C15-8FE9-249C9D6C62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9803" y="1700580"/>
            <a:ext cx="4457700" cy="2507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CB92D18-2431-4546-9339-16D288752BB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4679" r="3569"/>
          <a:stretch/>
        </p:blipFill>
        <p:spPr>
          <a:xfrm>
            <a:off x="9152906" y="1834406"/>
            <a:ext cx="2616391" cy="2373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91424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AC35E64-1094-4BEA-B7A5-1DD1C9B1A8C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/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CBE1878-32CD-4F01-B898-4403C5AA9BA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DE437B5E-DD8E-4C6C-8219-DE6DF49A057B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819368-2FAC-461A-A0F8-A04E9E97A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8BFF50F-70BE-4A3D-876C-4C13DCE767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400" dirty="0"/>
              <a:t>creos™ biomaterials</a:t>
            </a:r>
            <a:br>
              <a:rPr lang="en-US" sz="4400" dirty="0"/>
            </a:br>
            <a:br>
              <a:rPr lang="en-US" sz="2800" dirty="0"/>
            </a:br>
            <a:r>
              <a:rPr lang="en-US" sz="2800" dirty="0"/>
              <a:t>A</a:t>
            </a:r>
            <a:r>
              <a:rPr lang="en-US" dirty="0"/>
              <a:t> comprehensive portfolio for soft tissue &amp; bone regeneration</a:t>
            </a:r>
            <a:br>
              <a:rPr lang="en-US" dirty="0"/>
            </a:br>
            <a:endParaRPr lang="de-CH" dirty="0"/>
          </a:p>
        </p:txBody>
      </p:sp>
      <p:pic>
        <p:nvPicPr>
          <p:cNvPr id="10" name="Picture Placeholder 23">
            <a:extLst>
              <a:ext uri="{FF2B5EF4-FFF2-40B4-BE49-F238E27FC236}">
                <a16:creationId xmlns:a16="http://schemas.microsoft.com/office/drawing/2014/main" id="{9CCEDBD9-FC63-4BE0-8C1B-508222CD130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8459" y="3429000"/>
            <a:ext cx="4113485" cy="3439204"/>
          </a:xfrm>
          <a:prstGeom prst="rect">
            <a:avLst/>
          </a:prstGeom>
        </p:spPr>
      </p:pic>
      <p:pic>
        <p:nvPicPr>
          <p:cNvPr id="11" name="Picture Placeholder 16">
            <a:extLst>
              <a:ext uri="{FF2B5EF4-FFF2-40B4-BE49-F238E27FC236}">
                <a16:creationId xmlns:a16="http://schemas.microsoft.com/office/drawing/2014/main" id="{9ED1BA34-C49F-4DFE-9194-2EE5B589351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1945" y="3429000"/>
            <a:ext cx="4050056" cy="3448813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E77CBA9-9830-4B43-BCB0-33CEA337F415}"/>
              </a:ext>
            </a:extLst>
          </p:cNvPr>
          <p:cNvSpPr/>
          <p:nvPr/>
        </p:nvSpPr>
        <p:spPr>
          <a:xfrm>
            <a:off x="4102524" y="3503275"/>
            <a:ext cx="3669876" cy="12920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3200" tIns="43200" rIns="18000" bIns="18000" rtlCol="0" anchor="t" anchorCtr="0"/>
          <a:lstStyle/>
          <a:p>
            <a:pPr>
              <a:lnSpc>
                <a:spcPct val="105000"/>
              </a:lnSpc>
            </a:pPr>
            <a:r>
              <a:rPr lang="en-US" sz="2400" b="1" dirty="0">
                <a:solidFill>
                  <a:schemeClr val="tx1"/>
                </a:solidFill>
              </a:rPr>
              <a:t>Bone Graft Substitutes</a:t>
            </a:r>
          </a:p>
          <a:p>
            <a:r>
              <a:rPr lang="en-US" sz="1400" dirty="0"/>
              <a:t>creos™ xenogain</a:t>
            </a:r>
          </a:p>
          <a:p>
            <a:pPr>
              <a:lnSpc>
                <a:spcPct val="105000"/>
              </a:lnSpc>
            </a:pP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7E4EF5-ACDB-4231-B914-6CE149ACB177}"/>
              </a:ext>
            </a:extLst>
          </p:cNvPr>
          <p:cNvSpPr/>
          <p:nvPr/>
        </p:nvSpPr>
        <p:spPr>
          <a:xfrm>
            <a:off x="8311674" y="3452265"/>
            <a:ext cx="3140369" cy="6944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3200" tIns="43200" rIns="18000" bIns="18000" rtlCol="0" anchor="t" anchorCtr="0"/>
          <a:lstStyle/>
          <a:p>
            <a:pPr>
              <a:lnSpc>
                <a:spcPct val="105000"/>
              </a:lnSpc>
            </a:pPr>
            <a:r>
              <a:rPr lang="en-US" sz="2400" b="1" dirty="0">
                <a:solidFill>
                  <a:schemeClr val="bg1"/>
                </a:solidFill>
              </a:rPr>
              <a:t>Soft Tissue Matrix</a:t>
            </a:r>
          </a:p>
          <a:p>
            <a:pPr>
              <a:lnSpc>
                <a:spcPct val="105000"/>
              </a:lnSpc>
            </a:pPr>
            <a:r>
              <a:rPr lang="en-US" sz="1400" dirty="0">
                <a:solidFill>
                  <a:schemeClr val="bg1"/>
                </a:solidFill>
              </a:rPr>
              <a:t>creos™ </a:t>
            </a:r>
            <a:r>
              <a:rPr lang="en-US" sz="1400" dirty="0" err="1">
                <a:solidFill>
                  <a:schemeClr val="bg1"/>
                </a:solidFill>
              </a:rPr>
              <a:t>mucogain</a:t>
            </a:r>
            <a:endParaRPr lang="en-US" sz="1400" dirty="0">
              <a:solidFill>
                <a:schemeClr val="bg1"/>
              </a:solidFill>
            </a:endParaRPr>
          </a:p>
          <a:p>
            <a:pPr>
              <a:lnSpc>
                <a:spcPct val="105000"/>
              </a:lnSpc>
            </a:pP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6D3DDD-24EB-41DD-AABE-7171923F8879}"/>
              </a:ext>
            </a:extLst>
          </p:cNvPr>
          <p:cNvSpPr/>
          <p:nvPr/>
        </p:nvSpPr>
        <p:spPr>
          <a:xfrm>
            <a:off x="0" y="3429000"/>
            <a:ext cx="4028459" cy="343920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F6674EC-F52E-4CDC-89C9-7F069B70D15D}"/>
              </a:ext>
            </a:extLst>
          </p:cNvPr>
          <p:cNvSpPr/>
          <p:nvPr/>
        </p:nvSpPr>
        <p:spPr>
          <a:xfrm>
            <a:off x="71638" y="3503275"/>
            <a:ext cx="3140369" cy="8645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43200" tIns="43200" rIns="18000" bIns="18000" rtlCol="0" anchor="t" anchorCtr="0"/>
          <a:lstStyle/>
          <a:p>
            <a:pPr>
              <a:lnSpc>
                <a:spcPct val="105000"/>
              </a:lnSpc>
            </a:pPr>
            <a:r>
              <a:rPr lang="en-US" sz="2400" b="1">
                <a:solidFill>
                  <a:schemeClr val="bg1"/>
                </a:solidFill>
              </a:rPr>
              <a:t>Membranes</a:t>
            </a:r>
          </a:p>
          <a:p>
            <a:pPr>
              <a:lnSpc>
                <a:spcPct val="105000"/>
              </a:lnSpc>
            </a:pPr>
            <a:r>
              <a:rPr lang="en-US" sz="1400">
                <a:solidFill>
                  <a:schemeClr val="bg1"/>
                </a:solidFill>
              </a:rPr>
              <a:t>creos™ xenoprotect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7F9C27A-F8D4-4CD3-9FBC-7A1BC153F8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074" y="4146689"/>
            <a:ext cx="3846126" cy="25428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777176"/>
      </p:ext>
    </p:extLst>
  </p:cSld>
  <p:clrMapOvr>
    <a:masterClrMapping/>
  </p:clrMapOvr>
  <p:transition spd="slow">
    <p:wip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>
                <a:solidFill>
                  <a:prstClr val="white"/>
                </a:solidFill>
              </a:rPr>
              <a:t>What is xenogain?</a:t>
            </a:r>
          </a:p>
          <a:p>
            <a:pPr lvl="0" defTabSz="914400">
              <a:spcBef>
                <a:spcPts val="0"/>
              </a:spcBef>
            </a:pPr>
            <a:endParaRPr lang="en-US" sz="4000">
              <a:solidFill>
                <a:prstClr val="white"/>
              </a:solidFill>
            </a:endParaRPr>
          </a:p>
        </p:txBody>
      </p:sp>
      <p:pic>
        <p:nvPicPr>
          <p:cNvPr id="17" name="Picture 16" descr="A picture containing snow, sugar, man, food&#10;&#10;Description automatically generated">
            <a:extLst>
              <a:ext uri="{FF2B5EF4-FFF2-40B4-BE49-F238E27FC236}">
                <a16:creationId xmlns:a16="http://schemas.microsoft.com/office/drawing/2014/main" id="{FFEB179C-C1D4-4BDB-A1C3-7C63481A584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44308" y="1293236"/>
            <a:ext cx="5225833" cy="348309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 descr="A person in a blue shirt&#10;&#10;Description automatically generated">
            <a:extLst>
              <a:ext uri="{FF2B5EF4-FFF2-40B4-BE49-F238E27FC236}">
                <a16:creationId xmlns:a16="http://schemas.microsoft.com/office/drawing/2014/main" id="{03F3E193-BDC7-4E6C-A65E-FE64608E85A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-1397001" y="1397001"/>
            <a:ext cx="6858002" cy="4064002"/>
          </a:xfrm>
          <a:prstGeom prst="rect">
            <a:avLst/>
          </a:prstGeom>
        </p:spPr>
      </p:pic>
      <p:sp>
        <p:nvSpPr>
          <p:cNvPr id="12" name="Segnaposto testo 10">
            <a:extLst>
              <a:ext uri="{FF2B5EF4-FFF2-40B4-BE49-F238E27FC236}">
                <a16:creationId xmlns:a16="http://schemas.microsoft.com/office/drawing/2014/main" id="{241DFBE9-62A9-4A3B-9106-AF3147AB26C9}"/>
              </a:ext>
            </a:extLst>
          </p:cNvPr>
          <p:cNvSpPr txBox="1">
            <a:spLocks/>
          </p:cNvSpPr>
          <p:nvPr/>
        </p:nvSpPr>
        <p:spPr>
          <a:xfrm>
            <a:off x="178301" y="555376"/>
            <a:ext cx="3955549" cy="582868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2. A patented manufacturing process</a:t>
            </a: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r>
              <a:rPr lang="en-US" sz="4000" b="0" dirty="0">
                <a:solidFill>
                  <a:prstClr val="white"/>
                </a:solidFill>
              </a:rPr>
              <a:t>D</a:t>
            </a:r>
            <a:r>
              <a:rPr lang="en-US" sz="3200" b="0" dirty="0">
                <a:solidFill>
                  <a:prstClr val="white"/>
                </a:solidFill>
              </a:rPr>
              <a:t>irectional solidification method followed by freeze-drying.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E8E002F-335B-4481-BA83-23CEC5268A9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0571" b="50331"/>
          <a:stretch/>
        </p:blipFill>
        <p:spPr>
          <a:xfrm>
            <a:off x="7214356" y="1769949"/>
            <a:ext cx="4816622" cy="3590958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DC418051-1DDA-4024-BA69-F1A47EDF9A8E}"/>
              </a:ext>
            </a:extLst>
          </p:cNvPr>
          <p:cNvSpPr/>
          <p:nvPr/>
        </p:nvSpPr>
        <p:spPr>
          <a:xfrm>
            <a:off x="6962212" y="3424979"/>
            <a:ext cx="225309" cy="326888"/>
          </a:xfrm>
          <a:prstGeom prst="rightArrow">
            <a:avLst/>
          </a:prstGeom>
          <a:solidFill>
            <a:srgbClr val="0091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A99B29B-C1D9-4EF2-AC79-34B2FF0423E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7140" y="1874726"/>
            <a:ext cx="2412731" cy="359899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D2AF657-4C6E-4537-AC5D-F6C15B633439}"/>
              </a:ext>
            </a:extLst>
          </p:cNvPr>
          <p:cNvSpPr/>
          <p:nvPr/>
        </p:nvSpPr>
        <p:spPr>
          <a:xfrm>
            <a:off x="4238850" y="1769948"/>
            <a:ext cx="2696527" cy="359095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0628800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>
                <a:solidFill>
                  <a:prstClr val="white"/>
                </a:solidFill>
              </a:rPr>
              <a:t>What is xenogain?</a:t>
            </a:r>
          </a:p>
          <a:p>
            <a:pPr lvl="0" defTabSz="914400">
              <a:spcBef>
                <a:spcPts val="0"/>
              </a:spcBef>
            </a:pPr>
            <a:endParaRPr lang="en-US" sz="4000">
              <a:solidFill>
                <a:prstClr val="white"/>
              </a:solidFill>
            </a:endParaRPr>
          </a:p>
        </p:txBody>
      </p:sp>
      <p:pic>
        <p:nvPicPr>
          <p:cNvPr id="17" name="Picture 16" descr="A picture containing snow, sugar, man, food&#10;&#10;Description automatically generated">
            <a:extLst>
              <a:ext uri="{FF2B5EF4-FFF2-40B4-BE49-F238E27FC236}">
                <a16:creationId xmlns:a16="http://schemas.microsoft.com/office/drawing/2014/main" id="{FFEB179C-C1D4-4BDB-A1C3-7C63481A584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-644308" y="1293236"/>
            <a:ext cx="5225833" cy="348309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 descr="A person in a blue shirt&#10;&#10;Description automatically generated">
            <a:extLst>
              <a:ext uri="{FF2B5EF4-FFF2-40B4-BE49-F238E27FC236}">
                <a16:creationId xmlns:a16="http://schemas.microsoft.com/office/drawing/2014/main" id="{03F3E193-BDC7-4E6C-A65E-FE64608E85AA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865" t="19900" r="11316" b="47388"/>
          <a:stretch/>
        </p:blipFill>
        <p:spPr>
          <a:xfrm rot="5400000" flipH="1">
            <a:off x="-1397001" y="1397001"/>
            <a:ext cx="6858002" cy="4064002"/>
          </a:xfrm>
          <a:prstGeom prst="rect">
            <a:avLst/>
          </a:prstGeom>
        </p:spPr>
      </p:pic>
      <p:sp>
        <p:nvSpPr>
          <p:cNvPr id="12" name="Segnaposto testo 10">
            <a:extLst>
              <a:ext uri="{FF2B5EF4-FFF2-40B4-BE49-F238E27FC236}">
                <a16:creationId xmlns:a16="http://schemas.microsoft.com/office/drawing/2014/main" id="{241DFBE9-62A9-4A3B-9106-AF3147AB26C9}"/>
              </a:ext>
            </a:extLst>
          </p:cNvPr>
          <p:cNvSpPr txBox="1">
            <a:spLocks/>
          </p:cNvSpPr>
          <p:nvPr/>
        </p:nvSpPr>
        <p:spPr>
          <a:xfrm>
            <a:off x="330701" y="5553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>
                <a:solidFill>
                  <a:schemeClr val="bg1"/>
                </a:solidFill>
                <a:latin typeface="Mark Pro Medium" panose="020B0604020201010104" pitchFamily="34" charset="0"/>
              </a:rPr>
              <a:t>3. A variety of choice</a:t>
            </a:r>
            <a:endParaRPr lang="en-US" sz="4000">
              <a:solidFill>
                <a:prstClr val="white"/>
              </a:solidFill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AFBED135-5362-4D7D-B1D5-FDEF56EE408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5537327" y="1564004"/>
          <a:ext cx="4689694" cy="2058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7190">
                  <a:extLst>
                    <a:ext uri="{9D8B030D-6E8A-4147-A177-3AD203B41FA5}">
                      <a16:colId xmlns:a16="http://schemas.microsoft.com/office/drawing/2014/main" val="1451492086"/>
                    </a:ext>
                  </a:extLst>
                </a:gridCol>
                <a:gridCol w="1571252">
                  <a:extLst>
                    <a:ext uri="{9D8B030D-6E8A-4147-A177-3AD203B41FA5}">
                      <a16:colId xmlns:a16="http://schemas.microsoft.com/office/drawing/2014/main" val="271141813"/>
                    </a:ext>
                  </a:extLst>
                </a:gridCol>
                <a:gridCol w="1571252">
                  <a:extLst>
                    <a:ext uri="{9D8B030D-6E8A-4147-A177-3AD203B41FA5}">
                      <a16:colId xmlns:a16="http://schemas.microsoft.com/office/drawing/2014/main" val="3677146830"/>
                    </a:ext>
                  </a:extLst>
                </a:gridCol>
              </a:tblGrid>
              <a:tr h="411699">
                <a:tc>
                  <a:txBody>
                    <a:bodyPr/>
                    <a:lstStyle/>
                    <a:p>
                      <a:pPr algn="ctr"/>
                      <a:r>
                        <a:rPr lang="de-CH" err="1"/>
                        <a:t>Article</a:t>
                      </a:r>
                      <a:endParaRPr lang="de-CH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1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/>
                        <a:t>Siz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1A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err="1"/>
                        <a:t>Thickness</a:t>
                      </a:r>
                      <a:endParaRPr lang="de-CH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91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242013"/>
                  </a:ext>
                </a:extLst>
              </a:tr>
              <a:tr h="411699">
                <a:tc>
                  <a:txBody>
                    <a:bodyPr/>
                    <a:lstStyle/>
                    <a:p>
                      <a:pPr algn="ctr"/>
                      <a:r>
                        <a:rPr lang="de-CH"/>
                        <a:t>MU152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15x20 m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3 m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842462"/>
                  </a:ext>
                </a:extLst>
              </a:tr>
              <a:tr h="411699">
                <a:tc>
                  <a:txBody>
                    <a:bodyPr/>
                    <a:lstStyle/>
                    <a:p>
                      <a:pPr algn="ctr"/>
                      <a:r>
                        <a:rPr lang="de-CH"/>
                        <a:t>MU2530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25x30 mm</a:t>
                      </a:r>
                      <a:endParaRPr lang="de-CH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/>
                        <a:t>3 m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2962554"/>
                  </a:ext>
                </a:extLst>
              </a:tr>
              <a:tr h="411699">
                <a:tc>
                  <a:txBody>
                    <a:bodyPr/>
                    <a:lstStyle/>
                    <a:p>
                      <a:pPr algn="ctr"/>
                      <a:r>
                        <a:rPr lang="nl-NL"/>
                        <a:t>MU1520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15x20 m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/>
                        <a:t>5 m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05843"/>
                  </a:ext>
                </a:extLst>
              </a:tr>
              <a:tr h="411699">
                <a:tc>
                  <a:txBody>
                    <a:bodyPr/>
                    <a:lstStyle/>
                    <a:p>
                      <a:pPr algn="ctr"/>
                      <a:r>
                        <a:rPr lang="nl-NL"/>
                        <a:t>MU2530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25x30 mm</a:t>
                      </a:r>
                      <a:endParaRPr lang="de-CH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5 m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7717626"/>
                  </a:ext>
                </a:extLst>
              </a:tr>
            </a:tbl>
          </a:graphicData>
        </a:graphic>
      </p:graphicFrame>
      <p:pic>
        <p:nvPicPr>
          <p:cNvPr id="6" name="Picture 5" descr="A picture containing object, indoor, black, dark&#10;&#10;Description automatically generated">
            <a:extLst>
              <a:ext uri="{FF2B5EF4-FFF2-40B4-BE49-F238E27FC236}">
                <a16:creationId xmlns:a16="http://schemas.microsoft.com/office/drawing/2014/main" id="{1288075D-36CE-44DC-ABC5-AC6B8448DAFC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10000" b="90000" l="10000" r="90000">
                        <a14:foregroundMark x1="36378" y1="42511" x2="32255" y2="46790"/>
                        <a14:foregroundMark x1="32255" y1="46790" x2="33279" y2="54098"/>
                        <a14:foregroundMark x1="33279" y1="54098" x2="38022" y2="57045"/>
                        <a14:foregroundMark x1="38022" y1="57045" x2="42495" y2="54905"/>
                        <a14:foregroundMark x1="42495" y1="54905" x2="42953" y2="49859"/>
                        <a14:foregroundMark x1="55942" y1="59992" x2="56669" y2="66936"/>
                        <a14:foregroundMark x1="56669" y1="66936" x2="60927" y2="63989"/>
                        <a14:foregroundMark x1="60927" y1="63989" x2="60280" y2="62495"/>
                        <a14:foregroundMark x1="71598" y1="50262" x2="67529" y2="54663"/>
                        <a14:foregroundMark x1="67529" y1="54663" x2="71463" y2="60113"/>
                        <a14:foregroundMark x1="71463" y1="60113" x2="76071" y2="57691"/>
                        <a14:foregroundMark x1="76071" y1="57691" x2="75694" y2="53492"/>
                        <a14:backgroundMark x1="24037" y1="52927" x2="35920" y2="62374"/>
                        <a14:backgroundMark x1="48882" y1="65119" x2="57047" y2="72346"/>
                        <a14:backgroundMark x1="69739" y1="69843" x2="68203" y2="63222"/>
                        <a14:backgroundMark x1="68203" y1="63222" x2="66505" y2="5987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036" t="17716" r="12432" b="25716"/>
          <a:stretch/>
        </p:blipFill>
        <p:spPr>
          <a:xfrm>
            <a:off x="5450680" y="3622499"/>
            <a:ext cx="5565993" cy="3066975"/>
          </a:xfrm>
          <a:prstGeom prst="rect">
            <a:avLst/>
          </a:prstGeom>
        </p:spPr>
      </p:pic>
      <p:pic>
        <p:nvPicPr>
          <p:cNvPr id="13" name="Picture 12" descr="A close up of a device&#10;&#10;Description automatically generated">
            <a:extLst>
              <a:ext uri="{FF2B5EF4-FFF2-40B4-BE49-F238E27FC236}">
                <a16:creationId xmlns:a16="http://schemas.microsoft.com/office/drawing/2014/main" id="{C7017E4C-F123-4B54-9BFA-A614B90ECA0C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86" r="22823"/>
          <a:stretch/>
        </p:blipFill>
        <p:spPr>
          <a:xfrm>
            <a:off x="178301" y="2265867"/>
            <a:ext cx="3679324" cy="4139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3628518"/>
      </p:ext>
    </p:extLst>
  </p:cSld>
  <p:clrMapOvr>
    <a:masterClrMapping/>
  </p:clrMapOvr>
  <p:transition spd="slow"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>
                <a:solidFill>
                  <a:prstClr val="white"/>
                </a:solidFill>
              </a:rPr>
              <a:t>What is xenogain?</a:t>
            </a:r>
          </a:p>
          <a:p>
            <a:pPr lvl="0" defTabSz="914400">
              <a:spcBef>
                <a:spcPts val="0"/>
              </a:spcBef>
            </a:pPr>
            <a:endParaRPr lang="en-US" sz="4000">
              <a:solidFill>
                <a:prstClr val="white"/>
              </a:solidFill>
            </a:endParaRPr>
          </a:p>
        </p:txBody>
      </p:sp>
      <p:pic>
        <p:nvPicPr>
          <p:cNvPr id="17" name="Picture 16" descr="A picture containing snow, sugar, man, food&#10;&#10;Description automatically generated">
            <a:extLst>
              <a:ext uri="{FF2B5EF4-FFF2-40B4-BE49-F238E27FC236}">
                <a16:creationId xmlns:a16="http://schemas.microsoft.com/office/drawing/2014/main" id="{FFEB179C-C1D4-4BDB-A1C3-7C63481A584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644308" y="1293236"/>
            <a:ext cx="5225833" cy="348309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 descr="A person in a blue shirt&#10;&#10;Description automatically generated">
            <a:extLst>
              <a:ext uri="{FF2B5EF4-FFF2-40B4-BE49-F238E27FC236}">
                <a16:creationId xmlns:a16="http://schemas.microsoft.com/office/drawing/2014/main" id="{03F3E193-BDC7-4E6C-A65E-FE64608E85A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-1397001" y="1397001"/>
            <a:ext cx="6858002" cy="4064002"/>
          </a:xfrm>
          <a:prstGeom prst="rect">
            <a:avLst/>
          </a:prstGeom>
        </p:spPr>
      </p:pic>
      <p:sp>
        <p:nvSpPr>
          <p:cNvPr id="12" name="Segnaposto testo 10">
            <a:extLst>
              <a:ext uri="{FF2B5EF4-FFF2-40B4-BE49-F238E27FC236}">
                <a16:creationId xmlns:a16="http://schemas.microsoft.com/office/drawing/2014/main" id="{241DFBE9-62A9-4A3B-9106-AF3147AB26C9}"/>
              </a:ext>
            </a:extLst>
          </p:cNvPr>
          <p:cNvSpPr txBox="1">
            <a:spLocks/>
          </p:cNvSpPr>
          <p:nvPr/>
        </p:nvSpPr>
        <p:spPr>
          <a:xfrm>
            <a:off x="93482" y="555375"/>
            <a:ext cx="3822687" cy="58996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4. Memory effect</a:t>
            </a:r>
          </a:p>
          <a:p>
            <a:pPr lvl="0" defTabSz="914400">
              <a:spcBef>
                <a:spcPts val="0"/>
              </a:spcBef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  <a:p>
            <a:pPr lvl="0" defTabSz="914400">
              <a:spcBef>
                <a:spcPts val="0"/>
              </a:spcBef>
            </a:pPr>
            <a:endParaRPr lang="en-US" sz="3200" b="0" dirty="0">
              <a:solidFill>
                <a:schemeClr val="bg1"/>
              </a:solidFill>
            </a:endParaRPr>
          </a:p>
          <a:p>
            <a:pPr lvl="0" defTabSz="914400">
              <a:spcBef>
                <a:spcPts val="0"/>
              </a:spcBef>
            </a:pPr>
            <a:r>
              <a:rPr lang="en-US" sz="2800" b="0" dirty="0">
                <a:solidFill>
                  <a:schemeClr val="bg1"/>
                </a:solidFill>
              </a:rPr>
              <a:t>When hydrated, the initial volume of the graft is maintained after repeated compression</a:t>
            </a: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3378C04-050E-486B-83E5-41B5832F08EE}"/>
              </a:ext>
            </a:extLst>
          </p:cNvPr>
          <p:cNvSpPr/>
          <p:nvPr/>
        </p:nvSpPr>
        <p:spPr>
          <a:xfrm>
            <a:off x="4114744" y="6224191"/>
            <a:ext cx="80772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200" dirty="0" err="1">
                <a:latin typeface="+mj-lt"/>
              </a:rPr>
              <a:t>Damink</a:t>
            </a:r>
            <a:r>
              <a:rPr lang="en-AU" sz="1200" dirty="0">
                <a:latin typeface="+mj-lt"/>
              </a:rPr>
              <a:t> O.L., Heschel I., </a:t>
            </a:r>
            <a:r>
              <a:rPr lang="en-AU" sz="1200" dirty="0" err="1">
                <a:latin typeface="+mj-lt"/>
              </a:rPr>
              <a:t>Leemhuis</a:t>
            </a:r>
            <a:r>
              <a:rPr lang="en-AU" sz="1200" dirty="0">
                <a:latin typeface="+mj-lt"/>
              </a:rPr>
              <a:t> H. et all. </a:t>
            </a:r>
            <a:r>
              <a:rPr lang="en-US" sz="1200" dirty="0">
                <a:latin typeface="+mj-lt"/>
              </a:rPr>
              <a:t>Soft tissue volume augmentation in the oral cavity with a collagen-based 3D matrix with orientated open pore structure</a:t>
            </a:r>
            <a:r>
              <a:rPr lang="en-AU" sz="1200" dirty="0">
                <a:latin typeface="+mj-lt"/>
              </a:rPr>
              <a:t>. </a:t>
            </a:r>
            <a:r>
              <a:rPr lang="en-US" sz="1200" dirty="0">
                <a:latin typeface="+mj-lt"/>
              </a:rPr>
              <a:t>Current Directions in Biomedical Engineering 2018; 4(1): 237 – 241</a:t>
            </a:r>
            <a:endParaRPr lang="de-CH" sz="1200" dirty="0">
              <a:latin typeface="+mj-lt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03A94FA-99C0-4D5D-84D2-4647B4CCB68B}"/>
              </a:ext>
            </a:extLst>
          </p:cNvPr>
          <p:cNvGrpSpPr/>
          <p:nvPr/>
        </p:nvGrpSpPr>
        <p:grpSpPr>
          <a:xfrm>
            <a:off x="7175890" y="2049066"/>
            <a:ext cx="3850942" cy="2759867"/>
            <a:chOff x="6051448" y="1641977"/>
            <a:chExt cx="3850942" cy="2759867"/>
          </a:xfrm>
        </p:grpSpPr>
        <p:graphicFrame>
          <p:nvGraphicFramePr>
            <p:cNvPr id="16" name="Chart 15">
              <a:extLst>
                <a:ext uri="{FF2B5EF4-FFF2-40B4-BE49-F238E27FC236}">
                  <a16:creationId xmlns:a16="http://schemas.microsoft.com/office/drawing/2014/main" id="{F361E219-32B7-4536-AEC8-453285B40800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326359587"/>
                </p:ext>
              </p:extLst>
            </p:nvPr>
          </p:nvGraphicFramePr>
          <p:xfrm>
            <a:off x="6051448" y="1641977"/>
            <a:ext cx="3800475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F8D959F-5505-4C56-B0A2-34C90DC6865C}"/>
                </a:ext>
              </a:extLst>
            </p:cNvPr>
            <p:cNvSpPr/>
            <p:nvPr/>
          </p:nvSpPr>
          <p:spPr>
            <a:xfrm>
              <a:off x="9091813" y="4133121"/>
              <a:ext cx="810577" cy="2687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 sz="1000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F0C862B5-B033-4FB4-B884-D5BF28DB7EAA}"/>
                </a:ext>
              </a:extLst>
            </p:cNvPr>
            <p:cNvSpPr txBox="1"/>
            <p:nvPr/>
          </p:nvSpPr>
          <p:spPr>
            <a:xfrm>
              <a:off x="9245197" y="4105622"/>
              <a:ext cx="32573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CH" sz="1000" b="1">
                  <a:solidFill>
                    <a:schemeClr val="accent1"/>
                  </a:solidFill>
                </a:rPr>
                <a:t>50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C3EB411-DE8D-42B4-B581-99EDEE38F699}"/>
              </a:ext>
            </a:extLst>
          </p:cNvPr>
          <p:cNvGrpSpPr/>
          <p:nvPr/>
        </p:nvGrpSpPr>
        <p:grpSpPr>
          <a:xfrm>
            <a:off x="4546242" y="2288205"/>
            <a:ext cx="1928773" cy="2172742"/>
            <a:chOff x="4345993" y="2063750"/>
            <a:chExt cx="1928773" cy="2172742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720213E-0F62-49F5-BF2C-2958E902E973}"/>
                </a:ext>
              </a:extLst>
            </p:cNvPr>
            <p:cNvSpPr/>
            <p:nvPr/>
          </p:nvSpPr>
          <p:spPr>
            <a:xfrm>
              <a:off x="4345993" y="2063750"/>
              <a:ext cx="1928773" cy="2172741"/>
            </a:xfrm>
            <a:prstGeom prst="rect">
              <a:avLst/>
            </a:prstGeom>
            <a:solidFill>
              <a:srgbClr val="F1F7FC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pic>
          <p:nvPicPr>
            <p:cNvPr id="47125" name="Picture 21" descr="Image result for spring compression">
              <a:extLst>
                <a:ext uri="{FF2B5EF4-FFF2-40B4-BE49-F238E27FC236}">
                  <a16:creationId xmlns:a16="http://schemas.microsoft.com/office/drawing/2014/main" id="{719CEC16-42E3-4564-BF01-335CEC9802F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416350" y="2121595"/>
              <a:ext cx="949125" cy="20962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21" descr="Image result for spring compression">
              <a:extLst>
                <a:ext uri="{FF2B5EF4-FFF2-40B4-BE49-F238E27FC236}">
                  <a16:creationId xmlns:a16="http://schemas.microsoft.com/office/drawing/2014/main" id="{5FA50D2D-3F84-4EBD-94D9-2E7937EB48F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65475" y="3602860"/>
              <a:ext cx="881614" cy="633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2B8405DE-AB99-4497-B788-0C05FDFF4802}"/>
              </a:ext>
            </a:extLst>
          </p:cNvPr>
          <p:cNvSpPr txBox="1"/>
          <p:nvPr/>
        </p:nvSpPr>
        <p:spPr>
          <a:xfrm rot="16200000">
            <a:off x="6102331" y="3195196"/>
            <a:ext cx="178125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AU" sz="1000" dirty="0"/>
              <a:t>creos™ </a:t>
            </a:r>
            <a:r>
              <a:rPr lang="en-AU" sz="1000" dirty="0" err="1"/>
              <a:t>mucogain</a:t>
            </a:r>
            <a:r>
              <a:rPr lang="en-AU" sz="1000" dirty="0"/>
              <a:t> thickness</a:t>
            </a:r>
            <a:br>
              <a:rPr lang="en-AU" sz="1000" dirty="0"/>
            </a:br>
            <a:r>
              <a:rPr lang="en-AU" sz="1000" dirty="0"/>
              <a:t>[% of initial size]</a:t>
            </a:r>
          </a:p>
        </p:txBody>
      </p:sp>
    </p:spTree>
    <p:extLst>
      <p:ext uri="{BB962C8B-B14F-4D97-AF65-F5344CB8AC3E}">
        <p14:creationId xmlns:p14="http://schemas.microsoft.com/office/powerpoint/2010/main" val="1878328398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erson in a blue shirt&#10;&#10;Description automatically generated">
            <a:extLst>
              <a:ext uri="{FF2B5EF4-FFF2-40B4-BE49-F238E27FC236}">
                <a16:creationId xmlns:a16="http://schemas.microsoft.com/office/drawing/2014/main" id="{03F3E193-BDC7-4E6C-A65E-FE64608E85A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-1397001" y="1397001"/>
            <a:ext cx="6858002" cy="4064002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12BDA01B-A720-40D5-8CF3-B977F07811A3}"/>
              </a:ext>
            </a:extLst>
          </p:cNvPr>
          <p:cNvGrpSpPr/>
          <p:nvPr/>
        </p:nvGrpSpPr>
        <p:grpSpPr>
          <a:xfrm>
            <a:off x="4937658" y="946691"/>
            <a:ext cx="6131395" cy="3365428"/>
            <a:chOff x="1906517" y="1946052"/>
            <a:chExt cx="8197231" cy="4631113"/>
          </a:xfrm>
        </p:grpSpPr>
        <p:grpSp>
          <p:nvGrpSpPr>
            <p:cNvPr id="9" name="Group 4">
              <a:extLst>
                <a:ext uri="{FF2B5EF4-FFF2-40B4-BE49-F238E27FC236}">
                  <a16:creationId xmlns:a16="http://schemas.microsoft.com/office/drawing/2014/main" id="{4C12E617-C053-418C-A245-369D256BDDC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939214" y="1946052"/>
              <a:ext cx="5164534" cy="4631113"/>
              <a:chOff x="-176" y="458"/>
              <a:chExt cx="4488" cy="4071"/>
            </a:xfrm>
          </p:grpSpPr>
          <p:sp>
            <p:nvSpPr>
              <p:cNvPr id="16" name="AutoShape 3">
                <a:extLst>
                  <a:ext uri="{FF2B5EF4-FFF2-40B4-BE49-F238E27FC236}">
                    <a16:creationId xmlns:a16="http://schemas.microsoft.com/office/drawing/2014/main" id="{A14C1C5C-C0B4-4906-B40B-CE9EA89A110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332" y="1043"/>
                <a:ext cx="3567" cy="32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19" name="Picture 5">
                <a:extLst>
                  <a:ext uri="{FF2B5EF4-FFF2-40B4-BE49-F238E27FC236}">
                    <a16:creationId xmlns:a16="http://schemas.microsoft.com/office/drawing/2014/main" id="{C2286FD0-44DC-4B75-B061-1FE6666190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76" y="458"/>
                <a:ext cx="4488" cy="40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0184DCBE-5C85-4E3E-8EA2-01B97F566587}"/>
                </a:ext>
              </a:extLst>
            </p:cNvPr>
            <p:cNvSpPr/>
            <p:nvPr/>
          </p:nvSpPr>
          <p:spPr>
            <a:xfrm rot="5955644">
              <a:off x="3306725" y="3112115"/>
              <a:ext cx="2440740" cy="2554649"/>
            </a:xfrm>
            <a:prstGeom prst="triangle">
              <a:avLst>
                <a:gd name="adj" fmla="val 17138"/>
              </a:avLst>
            </a:prstGeom>
            <a:solidFill>
              <a:schemeClr val="tx2">
                <a:lumMod val="40000"/>
                <a:lumOff val="6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43200" tIns="43200" rIns="18000" bIns="18000" rtlCol="0" anchor="t" anchorCtr="0"/>
            <a:lstStyle/>
            <a:p>
              <a:pPr algn="ctr">
                <a:lnSpc>
                  <a:spcPct val="105000"/>
                </a:lnSpc>
              </a:pPr>
              <a:endParaRPr lang="en-US" sz="1600">
                <a:solidFill>
                  <a:schemeClr val="tx1"/>
                </a:solidFill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D012B579-2B14-4740-A9C1-836981909C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906517" y="2983537"/>
              <a:ext cx="2431803" cy="2408928"/>
            </a:xfrm>
            <a:prstGeom prst="ellipse">
              <a:avLst/>
            </a:prstGeom>
            <a:ln w="63500" cap="rnd">
              <a:solidFill>
                <a:srgbClr val="333333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3D8A3FA5-FE05-421E-A82B-CF325EBD440D}"/>
              </a:ext>
            </a:extLst>
          </p:cNvPr>
          <p:cNvSpPr/>
          <p:nvPr/>
        </p:nvSpPr>
        <p:spPr>
          <a:xfrm>
            <a:off x="4345993" y="4613359"/>
            <a:ext cx="7667705" cy="11285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600"/>
              </a:spcAft>
            </a:pPr>
            <a:r>
              <a:rPr lang="en-AU" dirty="0">
                <a:latin typeface="+mj-lt"/>
              </a:rPr>
              <a:t>Tissue integration and formation of </a:t>
            </a:r>
            <a:r>
              <a:rPr lang="en-US" dirty="0">
                <a:latin typeface="+mj-lt"/>
              </a:rPr>
              <a:t>new blood vessels due to the tube-like channel structure.</a:t>
            </a:r>
          </a:p>
          <a:p>
            <a:pPr>
              <a:spcAft>
                <a:spcPts val="1600"/>
              </a:spcAft>
            </a:pPr>
            <a:r>
              <a:rPr lang="en-US" dirty="0">
                <a:latin typeface="+mj-lt"/>
              </a:rPr>
              <a:t>The matrix is replaced by newly formed autogenous soft tissue in vivo.</a:t>
            </a:r>
            <a:endParaRPr lang="de-CH" dirty="0"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C84C981-1E3C-4D5B-AB74-30D988DE27DC}"/>
              </a:ext>
            </a:extLst>
          </p:cNvPr>
          <p:cNvSpPr/>
          <p:nvPr/>
        </p:nvSpPr>
        <p:spPr>
          <a:xfrm>
            <a:off x="4114744" y="6224191"/>
            <a:ext cx="80772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200" dirty="0" err="1">
                <a:latin typeface="+mj-lt"/>
              </a:rPr>
              <a:t>Damink</a:t>
            </a:r>
            <a:r>
              <a:rPr lang="en-AU" sz="1200" dirty="0">
                <a:latin typeface="+mj-lt"/>
              </a:rPr>
              <a:t> O.L., Heschel I., </a:t>
            </a:r>
            <a:r>
              <a:rPr lang="en-AU" sz="1200" dirty="0" err="1">
                <a:latin typeface="+mj-lt"/>
              </a:rPr>
              <a:t>Leemhuis</a:t>
            </a:r>
            <a:r>
              <a:rPr lang="en-AU" sz="1200" dirty="0">
                <a:latin typeface="+mj-lt"/>
              </a:rPr>
              <a:t> H. et all. </a:t>
            </a:r>
            <a:r>
              <a:rPr lang="en-US" sz="1200" dirty="0">
                <a:latin typeface="+mj-lt"/>
              </a:rPr>
              <a:t>Soft tissue volume augmentation in the oral cavity with a collagen-based 3D matrix with orientated open pore structure</a:t>
            </a:r>
            <a:r>
              <a:rPr lang="en-AU" sz="1200" dirty="0">
                <a:latin typeface="+mj-lt"/>
              </a:rPr>
              <a:t>. </a:t>
            </a:r>
            <a:r>
              <a:rPr lang="en-US" sz="1200" dirty="0">
                <a:latin typeface="+mj-lt"/>
              </a:rPr>
              <a:t>Current Directions in Biomedical Engineering 2018; 4(1): 237 – 241</a:t>
            </a:r>
            <a:endParaRPr lang="de-CH" sz="1200" dirty="0">
              <a:latin typeface="+mj-lt"/>
            </a:endParaRPr>
          </a:p>
        </p:txBody>
      </p:sp>
      <p:sp>
        <p:nvSpPr>
          <p:cNvPr id="20" name="Segnaposto testo 10">
            <a:extLst>
              <a:ext uri="{FF2B5EF4-FFF2-40B4-BE49-F238E27FC236}">
                <a16:creationId xmlns:a16="http://schemas.microsoft.com/office/drawing/2014/main" id="{B30C52DE-DC80-4E70-BC71-1A019B9E3E4F}"/>
              </a:ext>
            </a:extLst>
          </p:cNvPr>
          <p:cNvSpPr txBox="1">
            <a:spLocks/>
          </p:cNvSpPr>
          <p:nvPr/>
        </p:nvSpPr>
        <p:spPr>
          <a:xfrm>
            <a:off x="0" y="555376"/>
            <a:ext cx="4064001" cy="58996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3000" dirty="0">
                <a:solidFill>
                  <a:prstClr val="white"/>
                </a:solidFill>
              </a:rPr>
              <a:t>5. Designed to promote soft tissue regeneration through the migration of cells and blood vessels into the matrix.</a:t>
            </a:r>
          </a:p>
          <a:p>
            <a:pPr lvl="0" defTabSz="914400">
              <a:spcBef>
                <a:spcPts val="0"/>
              </a:spcBef>
            </a:pPr>
            <a:endParaRPr lang="en-US" sz="3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202161"/>
      </p:ext>
    </p:extLst>
  </p:cSld>
  <p:clrMapOvr>
    <a:masterClrMapping/>
  </p:clrMapOvr>
  <p:transition spd="slow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8" name="Picture 6" descr="https://www.for.org/sites/default/files/styles/gallery_image/public/2019-12/muco.011.jpeg?itok=wWU4dT2C">
            <a:extLst>
              <a:ext uri="{FF2B5EF4-FFF2-40B4-BE49-F238E27FC236}">
                <a16:creationId xmlns:a16="http://schemas.microsoft.com/office/drawing/2014/main" id="{4FF63AEA-2908-4458-8147-BE0F1F6D48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72258" y="1321755"/>
            <a:ext cx="32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280" name="Picture 8" descr="https://www.for.org/sites/default/files/styles/gallery_image/public/2019-12/muco.005.jpeg?itok=OEauVxQS">
            <a:extLst>
              <a:ext uri="{FF2B5EF4-FFF2-40B4-BE49-F238E27FC236}">
                <a16:creationId xmlns:a16="http://schemas.microsoft.com/office/drawing/2014/main" id="{7E63BCC2-DF11-4D20-A9F7-3E6BAC9788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91617" y="1331959"/>
            <a:ext cx="3200000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>
                <a:solidFill>
                  <a:prstClr val="white"/>
                </a:solidFill>
              </a:rPr>
              <a:t>What is xenogain?</a:t>
            </a:r>
          </a:p>
          <a:p>
            <a:pPr lvl="0" defTabSz="914400">
              <a:spcBef>
                <a:spcPts val="0"/>
              </a:spcBef>
            </a:pPr>
            <a:endParaRPr lang="en-US" sz="4000">
              <a:solidFill>
                <a:prstClr val="white"/>
              </a:solidFill>
            </a:endParaRPr>
          </a:p>
        </p:txBody>
      </p:sp>
      <p:pic>
        <p:nvPicPr>
          <p:cNvPr id="10" name="Picture 9" descr="A person in a blue shirt&#10;&#10;Description automatically generated">
            <a:extLst>
              <a:ext uri="{FF2B5EF4-FFF2-40B4-BE49-F238E27FC236}">
                <a16:creationId xmlns:a16="http://schemas.microsoft.com/office/drawing/2014/main" id="{03F3E193-BDC7-4E6C-A65E-FE64608E85A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 flipH="1">
            <a:off x="-1397001" y="1397001"/>
            <a:ext cx="6858002" cy="4064002"/>
          </a:xfrm>
          <a:prstGeom prst="rect">
            <a:avLst/>
          </a:prstGeom>
        </p:spPr>
      </p:pic>
      <p:sp>
        <p:nvSpPr>
          <p:cNvPr id="12" name="Segnaposto testo 10">
            <a:extLst>
              <a:ext uri="{FF2B5EF4-FFF2-40B4-BE49-F238E27FC236}">
                <a16:creationId xmlns:a16="http://schemas.microsoft.com/office/drawing/2014/main" id="{241DFBE9-62A9-4A3B-9106-AF3147AB26C9}"/>
              </a:ext>
            </a:extLst>
          </p:cNvPr>
          <p:cNvSpPr txBox="1">
            <a:spLocks/>
          </p:cNvSpPr>
          <p:nvPr/>
        </p:nvSpPr>
        <p:spPr>
          <a:xfrm>
            <a:off x="178302" y="555376"/>
            <a:ext cx="3885700" cy="58996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5. Clinically effective</a:t>
            </a:r>
          </a:p>
          <a:p>
            <a:pPr lvl="0" defTabSz="914400">
              <a:spcBef>
                <a:spcPts val="0"/>
              </a:spcBef>
            </a:pPr>
            <a:r>
              <a:rPr lang="en-US" dirty="0">
                <a:solidFill>
                  <a:prstClr val="white"/>
                </a:solidFill>
              </a:rPr>
              <a:t> </a:t>
            </a:r>
          </a:p>
          <a:p>
            <a:pPr defTabSz="914400">
              <a:spcBef>
                <a:spcPts val="0"/>
              </a:spcBef>
            </a:pPr>
            <a:r>
              <a:rPr lang="en-US" sz="3200" b="0" dirty="0">
                <a:solidFill>
                  <a:schemeClr val="bg1"/>
                </a:solidFill>
              </a:rPr>
              <a:t>creos™ </a:t>
            </a:r>
            <a:r>
              <a:rPr lang="en-US" sz="3200" b="0" dirty="0" err="1">
                <a:solidFill>
                  <a:schemeClr val="bg1"/>
                </a:solidFill>
              </a:rPr>
              <a:t>mucogain</a:t>
            </a:r>
            <a:r>
              <a:rPr lang="en-US" sz="3200" b="0" dirty="0">
                <a:solidFill>
                  <a:schemeClr val="bg1"/>
                </a:solidFill>
              </a:rPr>
              <a:t> shown to promote soft tissue health and maintain adequate soft tissue thickness.</a:t>
            </a:r>
            <a:r>
              <a:rPr lang="en-US" sz="3200" baseline="30000" dirty="0">
                <a:solidFill>
                  <a:prstClr val="white"/>
                </a:solidFill>
              </a:rPr>
              <a:t>#</a:t>
            </a: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D8A3FA5-FE05-421E-A82B-CF325EBD440D}"/>
              </a:ext>
            </a:extLst>
          </p:cNvPr>
          <p:cNvSpPr/>
          <p:nvPr/>
        </p:nvSpPr>
        <p:spPr>
          <a:xfrm>
            <a:off x="4268224" y="4662562"/>
            <a:ext cx="771955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600"/>
              </a:spcAft>
            </a:pPr>
            <a:r>
              <a:rPr lang="en-US" sz="2000" dirty="0">
                <a:latin typeface="+mj-lt"/>
              </a:rPr>
              <a:t>In </a:t>
            </a:r>
            <a:r>
              <a:rPr lang="en-US" sz="2000" u="sng" dirty="0">
                <a:latin typeface="+mj-lt"/>
              </a:rPr>
              <a:t>45 patients</a:t>
            </a:r>
            <a:r>
              <a:rPr lang="en-US" sz="2000" dirty="0">
                <a:latin typeface="+mj-lt"/>
              </a:rPr>
              <a:t>, a follow-up of up to 4.5 years (mean of 1.8 ± 1.3 years) demonstrated that creos™ </a:t>
            </a:r>
            <a:r>
              <a:rPr lang="en-US" sz="2000" dirty="0" err="1">
                <a:latin typeface="+mj-lt"/>
              </a:rPr>
              <a:t>mucogain</a:t>
            </a:r>
            <a:r>
              <a:rPr lang="en-US" sz="2000" dirty="0">
                <a:latin typeface="+mj-lt"/>
              </a:rPr>
              <a:t> promotes soft tissue health and maintains adequate soft tissue thickness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B86E45-AEC2-4CE6-B0EE-8B3CB7216D7F}"/>
              </a:ext>
            </a:extLst>
          </p:cNvPr>
          <p:cNvSpPr/>
          <p:nvPr/>
        </p:nvSpPr>
        <p:spPr>
          <a:xfrm>
            <a:off x="4268224" y="6311044"/>
            <a:ext cx="80772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200" dirty="0">
                <a:latin typeface="+mj-lt"/>
              </a:rPr>
              <a:t>Wessing B, </a:t>
            </a:r>
            <a:r>
              <a:rPr lang="en-AU" sz="1200" dirty="0" err="1">
                <a:latin typeface="+mj-lt"/>
              </a:rPr>
              <a:t>Boekema</a:t>
            </a:r>
            <a:r>
              <a:rPr lang="en-AU" sz="1200" dirty="0">
                <a:latin typeface="+mj-lt"/>
              </a:rPr>
              <a:t> B and Gonzalez-Martin. Soft tissue augmentation with a collagen-based 3D matrix with directed pore channels. Clinical Oral Implant Research 2019:Volume30, IssueS19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EA2AEB9-1813-4BEB-A542-A7B15EBE25B5}"/>
              </a:ext>
            </a:extLst>
          </p:cNvPr>
          <p:cNvSpPr/>
          <p:nvPr/>
        </p:nvSpPr>
        <p:spPr>
          <a:xfrm>
            <a:off x="4691616" y="3120127"/>
            <a:ext cx="15867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AU">
                <a:latin typeface="AdvTTa9c1b374"/>
              </a:rPr>
              <a:t>Initial situation</a:t>
            </a:r>
            <a:endParaRPr lang="en-AU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A4C3627-BCBA-42EC-B418-EE789A8F5127}"/>
              </a:ext>
            </a:extLst>
          </p:cNvPr>
          <p:cNvSpPr/>
          <p:nvPr/>
        </p:nvSpPr>
        <p:spPr>
          <a:xfrm>
            <a:off x="8272258" y="3121220"/>
            <a:ext cx="2551596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>
                <a:latin typeface="AdvTTa9c1b374"/>
              </a:rPr>
              <a:t>8 months post-treatment</a:t>
            </a:r>
            <a:endParaRPr lang="de-CH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0E22A10-9691-46CF-901C-F3CF1B5DC664}"/>
              </a:ext>
            </a:extLst>
          </p:cNvPr>
          <p:cNvSpPr/>
          <p:nvPr/>
        </p:nvSpPr>
        <p:spPr>
          <a:xfrm>
            <a:off x="4691615" y="3558128"/>
            <a:ext cx="697500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200" i="1">
                <a:latin typeface="+mj-lt"/>
              </a:rPr>
              <a:t>Cirillo I, </a:t>
            </a:r>
            <a:r>
              <a:rPr lang="en-AU" sz="1200" i="1" err="1">
                <a:latin typeface="+mj-lt"/>
              </a:rPr>
              <a:t>Encalada</a:t>
            </a:r>
            <a:r>
              <a:rPr lang="en-AU" sz="1200" i="1">
                <a:latin typeface="+mj-lt"/>
              </a:rPr>
              <a:t> C, </a:t>
            </a:r>
            <a:r>
              <a:rPr lang="en-US" sz="1200" i="1">
                <a:latin typeface="+mj-lt"/>
              </a:rPr>
              <a:t>Periodontal plastic surgery: treatment of multiple gingival recessions</a:t>
            </a:r>
            <a:r>
              <a:rPr lang="en-AU" sz="1200" i="1">
                <a:latin typeface="+mj-lt"/>
              </a:rPr>
              <a:t>. FOR.org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C8A116-F09E-4936-B448-DDAD07C37956}"/>
              </a:ext>
            </a:extLst>
          </p:cNvPr>
          <p:cNvSpPr/>
          <p:nvPr/>
        </p:nvSpPr>
        <p:spPr>
          <a:xfrm>
            <a:off x="0" y="6267214"/>
            <a:ext cx="4268224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aseline="30000" dirty="0">
                <a:solidFill>
                  <a:prstClr val="white"/>
                </a:solidFill>
              </a:rPr>
              <a:t># </a:t>
            </a:r>
            <a:r>
              <a:rPr lang="en-US" sz="1600" dirty="0">
                <a:solidFill>
                  <a:schemeClr val="bg1"/>
                </a:solidFill>
              </a:rPr>
              <a:t>as shown in a clinical study:</a:t>
            </a:r>
          </a:p>
          <a:p>
            <a:r>
              <a:rPr lang="en-AU" sz="1300" dirty="0">
                <a:solidFill>
                  <a:schemeClr val="bg1"/>
                </a:solidFill>
              </a:rPr>
              <a:t>Wessing B et al. Clinical Oral Implant Research 2019</a:t>
            </a:r>
            <a:endParaRPr lang="en-US" sz="13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666001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DCBC45B-43F9-44ED-9407-4FEB06291DDF}"/>
              </a:ext>
            </a:extLst>
          </p:cNvPr>
          <p:cNvSpPr/>
          <p:nvPr/>
        </p:nvSpPr>
        <p:spPr>
          <a:xfrm>
            <a:off x="4072614" y="0"/>
            <a:ext cx="4064400" cy="6858000"/>
          </a:xfrm>
          <a:prstGeom prst="rect">
            <a:avLst/>
          </a:prstGeom>
          <a:solidFill>
            <a:srgbClr val="0091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bg1"/>
                </a:solidFill>
                <a:sym typeface="Wingdings" panose="05000000000000000000" pitchFamily="2" charset="2"/>
              </a:rPr>
              <a:t>1. </a:t>
            </a:r>
            <a:r>
              <a:rPr lang="en-US" sz="2400" b="1" dirty="0">
                <a:solidFill>
                  <a:schemeClr val="bg1"/>
                </a:solidFill>
              </a:rPr>
              <a:t>No need for a second surgical site</a:t>
            </a:r>
          </a:p>
          <a:p>
            <a:pPr marL="742950" lvl="1" indent="-285750"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chemeClr val="bg1"/>
                </a:solidFill>
              </a:rPr>
              <a:t>A second surgical site is associated with post-operative pain, bleeding, swelling and infection.</a:t>
            </a:r>
            <a:r>
              <a:rPr lang="en-US" sz="1400" baseline="30000" dirty="0">
                <a:solidFill>
                  <a:schemeClr val="bg1"/>
                </a:solidFill>
              </a:rPr>
              <a:t>1</a:t>
            </a:r>
            <a:endParaRPr lang="en-US" sz="1400" dirty="0">
              <a:solidFill>
                <a:schemeClr val="bg1"/>
              </a:solidFill>
            </a:endParaRPr>
          </a:p>
          <a:p>
            <a:endParaRPr lang="en-US" sz="1600" dirty="0">
              <a:solidFill>
                <a:schemeClr val="bg1"/>
              </a:solidFill>
            </a:endParaRPr>
          </a:p>
          <a:p>
            <a:r>
              <a:rPr lang="en-US" sz="2400" b="1" dirty="0">
                <a:solidFill>
                  <a:schemeClr val="bg1"/>
                </a:solidFill>
                <a:sym typeface="Wingdings" panose="05000000000000000000" pitchFamily="2" charset="2"/>
              </a:rPr>
              <a:t>2. </a:t>
            </a:r>
            <a:r>
              <a:rPr lang="en-US" sz="2400" b="1" dirty="0">
                <a:solidFill>
                  <a:schemeClr val="bg1"/>
                </a:solidFill>
              </a:rPr>
              <a:t>Patented method</a:t>
            </a:r>
          </a:p>
          <a:p>
            <a:pPr marL="742950" lvl="1" indent="-28575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chemeClr val="bg1"/>
                </a:solidFill>
              </a:rPr>
              <a:t>Oriented pore structure</a:t>
            </a:r>
          </a:p>
          <a:p>
            <a:pPr marL="742950" lvl="1" indent="-28575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chemeClr val="bg1"/>
                </a:solidFill>
              </a:rPr>
              <a:t>Migration of cells into the matrix</a:t>
            </a:r>
          </a:p>
          <a:p>
            <a:pPr marL="742950" lvl="1" indent="-285750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en-US" sz="1400" dirty="0">
              <a:solidFill>
                <a:schemeClr val="bg1"/>
              </a:solidFill>
            </a:endParaRPr>
          </a:p>
          <a:p>
            <a:r>
              <a:rPr lang="en-US" sz="2400" b="1" dirty="0">
                <a:solidFill>
                  <a:schemeClr val="bg1"/>
                </a:solidFill>
              </a:rPr>
              <a:t>3. Variety of choice</a:t>
            </a:r>
          </a:p>
          <a:p>
            <a:pPr marL="742950" lvl="1" indent="-28575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chemeClr val="bg1"/>
                </a:solidFill>
              </a:rPr>
              <a:t>Two thicknesses (3 &amp; 5 mm)</a:t>
            </a:r>
          </a:p>
          <a:p>
            <a:pPr marL="742950" lvl="1" indent="-285750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en-US" sz="2400" b="1" dirty="0">
              <a:solidFill>
                <a:schemeClr val="bg1"/>
              </a:solidFill>
            </a:endParaRPr>
          </a:p>
          <a:p>
            <a:r>
              <a:rPr lang="en-US" sz="2400" b="1" dirty="0">
                <a:solidFill>
                  <a:schemeClr val="bg1"/>
                </a:solidFill>
              </a:rPr>
              <a:t>4. Excellent handling</a:t>
            </a:r>
          </a:p>
          <a:p>
            <a:pPr marL="742950" lvl="1" indent="-28575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chemeClr val="bg1"/>
                </a:solidFill>
              </a:rPr>
              <a:t>Easy to use</a:t>
            </a:r>
          </a:p>
          <a:p>
            <a:pPr marL="742950" lvl="1" indent="-28575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chemeClr val="bg1"/>
                </a:solidFill>
              </a:rPr>
              <a:t>Memory effect, mechanical strength</a:t>
            </a:r>
          </a:p>
          <a:p>
            <a:pPr marL="742950" lvl="1" indent="-285750">
              <a:spcBef>
                <a:spcPts val="600"/>
              </a:spcBef>
              <a:buFont typeface="Symbol" panose="05050102010706020507" pitchFamily="18" charset="2"/>
              <a:buChar char="-"/>
            </a:pPr>
            <a:endParaRPr lang="en-US" sz="2400" b="1" dirty="0">
              <a:solidFill>
                <a:schemeClr val="bg1"/>
              </a:solidFill>
            </a:endParaRPr>
          </a:p>
          <a:p>
            <a:r>
              <a:rPr lang="en-US" sz="2400" b="1" dirty="0">
                <a:solidFill>
                  <a:schemeClr val="bg1"/>
                </a:solidFill>
              </a:rPr>
              <a:t>5. Clinically effective</a:t>
            </a:r>
          </a:p>
          <a:p>
            <a:pPr marL="742950" lvl="1" indent="-285750">
              <a:spcBef>
                <a:spcPts val="600"/>
              </a:spcBef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chemeClr val="bg1"/>
                </a:solidFill>
              </a:rPr>
              <a:t>Shown to promote soft tissue health and maintain adequate soft tissue thickness in a clinical study.</a:t>
            </a:r>
            <a:r>
              <a:rPr lang="en-US" sz="1400" baseline="30000" dirty="0">
                <a:solidFill>
                  <a:schemeClr val="bg1"/>
                </a:solidFill>
              </a:rPr>
              <a:t>2</a:t>
            </a:r>
          </a:p>
          <a:p>
            <a:endParaRPr lang="en-US" sz="800" dirty="0">
              <a:solidFill>
                <a:schemeClr val="tx1"/>
              </a:solidFill>
            </a:endParaRP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BE1EDAC-1F0C-4B9C-BEC6-A3ADEA23803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BE1EDAC-1F0C-4B9C-BEC6-A3ADEA2380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ED587AF-DD48-4337-BA1A-F9692B6956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900" y="284865"/>
            <a:ext cx="3600000" cy="5616574"/>
          </a:xfrm>
        </p:spPr>
        <p:txBody>
          <a:bodyPr/>
          <a:lstStyle/>
          <a:p>
            <a:r>
              <a:rPr lang="en-US" sz="4000" dirty="0"/>
              <a:t>Why creos™ </a:t>
            </a:r>
            <a:r>
              <a:rPr lang="en-US" sz="4000" dirty="0" err="1"/>
              <a:t>mucogain</a:t>
            </a:r>
            <a:r>
              <a:rPr lang="en-US" sz="4000" dirty="0"/>
              <a:t> </a:t>
            </a:r>
            <a:r>
              <a:rPr lang="en-US" sz="4000" dirty="0">
                <a:sym typeface="Symbol" panose="05050102010706020507" pitchFamily="18" charset="2"/>
              </a:rPr>
              <a:t>?</a:t>
            </a:r>
            <a:endParaRPr lang="en-US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E3FA3056-73A7-488D-B144-E69E5714BE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7728" y="557609"/>
            <a:ext cx="2038414" cy="19922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1" name="Google Shape;112;p18">
            <a:extLst>
              <a:ext uri="{FF2B5EF4-FFF2-40B4-BE49-F238E27FC236}">
                <a16:creationId xmlns:a16="http://schemas.microsoft.com/office/drawing/2014/main" id="{A14CCC10-A9C5-4A91-B335-D99D48A459D2}"/>
              </a:ext>
            </a:extLst>
          </p:cNvPr>
          <p:cNvPicPr preferRelativeResize="0">
            <a:picLocks noGrp="1"/>
          </p:cNvPicPr>
          <p:nvPr>
            <p:ph type="pic" sz="quarter" idx="19"/>
          </p:nvPr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9972060" y="1929172"/>
            <a:ext cx="1892041" cy="193003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Picture 2" descr="https://www.for.org/sites/default/files/surgery-photos/Picture13_4.jpg">
            <a:extLst>
              <a:ext uri="{FF2B5EF4-FFF2-40B4-BE49-F238E27FC236}">
                <a16:creationId xmlns:a16="http://schemas.microsoft.com/office/drawing/2014/main" id="{A3B762F7-7C38-44F0-99A5-FDDFC6133F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2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b="-975"/>
          <a:stretch/>
        </p:blipFill>
        <p:spPr bwMode="auto">
          <a:xfrm>
            <a:off x="8377728" y="3238561"/>
            <a:ext cx="2007931" cy="199221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7" name="Picture Placeholder 40" descr="A picture containing object&#10;&#10;Description generated with high confidence">
            <a:extLst>
              <a:ext uri="{FF2B5EF4-FFF2-40B4-BE49-F238E27FC236}">
                <a16:creationId xmlns:a16="http://schemas.microsoft.com/office/drawing/2014/main" id="{FA89E79E-3052-43EF-B56E-1FBC63947260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53062" y="4836319"/>
            <a:ext cx="1930038" cy="18920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DBFE4DDE-98BC-437C-9729-62DAABC4D5B2}"/>
              </a:ext>
            </a:extLst>
          </p:cNvPr>
          <p:cNvSpPr/>
          <p:nvPr/>
        </p:nvSpPr>
        <p:spPr>
          <a:xfrm>
            <a:off x="129109" y="6073170"/>
            <a:ext cx="3702791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aseline="30000" dirty="0"/>
              <a:t>1</a:t>
            </a:r>
            <a:r>
              <a:rPr lang="en-US" sz="1100" dirty="0"/>
              <a:t> Harris R.J 2005. Griffin T.J. et al.2006. Aguirre-</a:t>
            </a:r>
            <a:r>
              <a:rPr lang="en-US" sz="1100" dirty="0" err="1"/>
              <a:t>Zorzano</a:t>
            </a:r>
            <a:r>
              <a:rPr lang="en-US" sz="1100" dirty="0"/>
              <a:t> L.A. et.al 2017.</a:t>
            </a:r>
          </a:p>
          <a:p>
            <a:r>
              <a:rPr lang="en-US" sz="1100" baseline="30000" dirty="0"/>
              <a:t>2 </a:t>
            </a:r>
            <a:r>
              <a:rPr lang="en-AU" sz="1100" dirty="0"/>
              <a:t>Wessing B et al.. Clinical Oral Implant Research 2019.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74571212"/>
      </p:ext>
    </p:extLst>
  </p:cSld>
  <p:clrMapOvr>
    <a:masterClrMapping/>
  </p:clrMapOvr>
  <p:transition spd="slow">
    <p:wip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38FC656-660E-4C1A-A6E7-8B1EB9E90721}"/>
              </a:ext>
            </a:extLst>
          </p:cNvPr>
          <p:cNvSpPr/>
          <p:nvPr/>
        </p:nvSpPr>
        <p:spPr>
          <a:xfrm>
            <a:off x="653143" y="2240368"/>
            <a:ext cx="11059432" cy="26001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59488AC-FF44-4D62-BBBC-9E16C9112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1531053"/>
          </a:xfrm>
        </p:spPr>
        <p:txBody>
          <a:bodyPr/>
          <a:lstStyle/>
          <a:p>
            <a:r>
              <a:rPr lang="en-US"/>
              <a:t>More scientific evidence is to be found in </a:t>
            </a:r>
            <a:br>
              <a:rPr lang="en-US"/>
            </a:br>
            <a:r>
              <a:rPr lang="en-US"/>
              <a:t>the following publication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B5ACCC7-F1D1-4BE0-A6CB-1C49B2F649CC}"/>
              </a:ext>
            </a:extLst>
          </p:cNvPr>
          <p:cNvSpPr/>
          <p:nvPr/>
        </p:nvSpPr>
        <p:spPr>
          <a:xfrm>
            <a:off x="783772" y="2319937"/>
            <a:ext cx="10928804" cy="23237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200" b="1" dirty="0"/>
              <a:t>Key scientific evidence, creos™ xenogain:</a:t>
            </a:r>
          </a:p>
          <a:p>
            <a:pPr>
              <a:spcBef>
                <a:spcPts val="600"/>
              </a:spcBef>
            </a:pPr>
            <a:endParaRPr lang="en-US" sz="1200" b="1" dirty="0"/>
          </a:p>
          <a:p>
            <a:pPr marL="228603" indent="-228603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 err="1"/>
              <a:t>Boekema</a:t>
            </a:r>
            <a:r>
              <a:rPr lang="en-US" sz="1200" b="1" dirty="0"/>
              <a:t> B., </a:t>
            </a:r>
            <a:r>
              <a:rPr lang="en-US" sz="1200" b="1" dirty="0" err="1"/>
              <a:t>Vlig</a:t>
            </a:r>
            <a:r>
              <a:rPr lang="en-US" sz="1200" b="1" dirty="0"/>
              <a:t> F, </a:t>
            </a:r>
            <a:r>
              <a:rPr lang="en-US" sz="1200" b="1" dirty="0" err="1"/>
              <a:t>Damink</a:t>
            </a:r>
            <a:r>
              <a:rPr lang="en-US" sz="1200" b="1" dirty="0"/>
              <a:t> O.L. et al. Effect of pore size and cross-linking of a novel collagen-elastin dermal substitute on wound healing. J Mater Sci Mater Med 2014:25(2):423-433</a:t>
            </a:r>
          </a:p>
          <a:p>
            <a:pPr marL="228603" indent="-228603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/>
              <a:t>Wessing B, </a:t>
            </a:r>
            <a:r>
              <a:rPr lang="en-US" sz="1200" b="1" dirty="0" err="1"/>
              <a:t>Boekema</a:t>
            </a:r>
            <a:r>
              <a:rPr lang="en-US" sz="1200" b="1" dirty="0"/>
              <a:t> B and Gonzalez-Martin. Soft tissue augmentation with a collagen-based 3D matrix with directed pore channels. Clinical Oral Implant Research 2019:Volume30, IssueS19.</a:t>
            </a:r>
          </a:p>
          <a:p>
            <a:pPr marL="228603" indent="-228603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/>
              <a:t>Wessing B, </a:t>
            </a:r>
            <a:r>
              <a:rPr lang="en-US" sz="1200" b="1" dirty="0" err="1"/>
              <a:t>Vasilic</a:t>
            </a:r>
            <a:r>
              <a:rPr lang="en-US" sz="1200" b="1" dirty="0"/>
              <a:t> N. Soft tissue augmentation with a new regenerative collagen 3-D matrix with oriented open pores as a potential alternative to autologous connective tissue grafts. Clin Oral Implants Res. 2014 Sep;25(s10)</a:t>
            </a:r>
          </a:p>
          <a:p>
            <a:pPr marL="228603" indent="-228603">
              <a:spcBef>
                <a:spcPts val="600"/>
              </a:spcBef>
              <a:buFont typeface="+mj-lt"/>
              <a:buAutoNum type="arabicPeriod"/>
            </a:pPr>
            <a:r>
              <a:rPr lang="en-US" sz="1200" b="1" dirty="0"/>
              <a:t>Sanz-Martin I, </a:t>
            </a:r>
            <a:r>
              <a:rPr lang="en-US" sz="1200" b="1" dirty="0" err="1"/>
              <a:t>Encalada</a:t>
            </a:r>
            <a:r>
              <a:rPr lang="en-US" sz="1200" b="1" dirty="0"/>
              <a:t> C, Sam-Sanchez I, et al. Soft tissue augmentation at immediate implants using a novel xenogeneic collagen matrix in conjunction with immediate provisional restorations: A prospective case series. Clin Implant Dent </a:t>
            </a:r>
            <a:r>
              <a:rPr lang="en-US" sz="1200" b="1" dirty="0" err="1"/>
              <a:t>Relat</a:t>
            </a:r>
            <a:r>
              <a:rPr lang="en-US" sz="1200" b="1" dirty="0"/>
              <a:t> Res 2019;21(1):145-153.</a:t>
            </a:r>
          </a:p>
        </p:txBody>
      </p:sp>
    </p:spTree>
    <p:extLst>
      <p:ext uri="{BB962C8B-B14F-4D97-AF65-F5344CB8AC3E}">
        <p14:creationId xmlns:p14="http://schemas.microsoft.com/office/powerpoint/2010/main" val="2470607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>
            <a:extLst>
              <a:ext uri="{FF2B5EF4-FFF2-40B4-BE49-F238E27FC236}">
                <a16:creationId xmlns:a16="http://schemas.microsoft.com/office/drawing/2014/main" id="{075E84CA-D109-4635-9CAF-AD74D6F7AB8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1" name="Objekt 20" hidden="1">
                        <a:extLst>
                          <a:ext uri="{FF2B5EF4-FFF2-40B4-BE49-F238E27FC236}">
                            <a16:creationId xmlns:a16="http://schemas.microsoft.com/office/drawing/2014/main" id="{075E84CA-D109-4635-9CAF-AD74D6F7AB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hteck 19" hidden="1">
            <a:extLst>
              <a:ext uri="{FF2B5EF4-FFF2-40B4-BE49-F238E27FC236}">
                <a16:creationId xmlns:a16="http://schemas.microsoft.com/office/drawing/2014/main" id="{472DBF80-AA4E-4757-B1F0-A9910129C51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4" name="Grafik 16">
            <a:extLst>
              <a:ext uri="{FF2B5EF4-FFF2-40B4-BE49-F238E27FC236}">
                <a16:creationId xmlns:a16="http://schemas.microsoft.com/office/drawing/2014/main" id="{1CC8217F-3254-459A-821F-63CB9060CC5A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28000" y="0"/>
            <a:ext cx="4064000" cy="6858000"/>
          </a:xfrm>
          <a:prstGeom prst="rect">
            <a:avLst/>
          </a:prstGeom>
          <a:solidFill>
            <a:srgbClr val="88DBDF"/>
          </a:solidFill>
        </p:spPr>
      </p:pic>
      <p:sp>
        <p:nvSpPr>
          <p:cNvPr id="45" name="Segnaposto testo 10">
            <a:extLst>
              <a:ext uri="{FF2B5EF4-FFF2-40B4-BE49-F238E27FC236}">
                <a16:creationId xmlns:a16="http://schemas.microsoft.com/office/drawing/2014/main" id="{DB821024-F99A-494C-8678-F8BFCECFDDD4}"/>
              </a:ext>
            </a:extLst>
          </p:cNvPr>
          <p:cNvSpPr txBox="1">
            <a:spLocks/>
          </p:cNvSpPr>
          <p:nvPr/>
        </p:nvSpPr>
        <p:spPr>
          <a:xfrm>
            <a:off x="8328024" y="1640486"/>
            <a:ext cx="3808644" cy="238252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a-DK" sz="4800">
              <a:solidFill>
                <a:schemeClr val="bg1"/>
              </a:solidFill>
            </a:endParaRPr>
          </a:p>
        </p:txBody>
      </p:sp>
      <p:pic>
        <p:nvPicPr>
          <p:cNvPr id="46" name="Grafik 45">
            <a:extLst>
              <a:ext uri="{FF2B5EF4-FFF2-40B4-BE49-F238E27FC236}">
                <a16:creationId xmlns:a16="http://schemas.microsoft.com/office/drawing/2014/main" id="{64C39648-C3F3-4E2D-A20F-4B26FAD8894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sp>
        <p:nvSpPr>
          <p:cNvPr id="47" name="Title 4">
            <a:extLst>
              <a:ext uri="{FF2B5EF4-FFF2-40B4-BE49-F238E27FC236}">
                <a16:creationId xmlns:a16="http://schemas.microsoft.com/office/drawing/2014/main" id="{75DF5504-4EFC-45AB-A0E3-92C20CA68B4F}"/>
              </a:ext>
            </a:extLst>
          </p:cNvPr>
          <p:cNvSpPr txBox="1">
            <a:spLocks/>
          </p:cNvSpPr>
          <p:nvPr/>
        </p:nvSpPr>
        <p:spPr>
          <a:xfrm>
            <a:off x="553566" y="2371249"/>
            <a:ext cx="11084867" cy="260360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cap="none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800">
                <a:solidFill>
                  <a:schemeClr val="bg1"/>
                </a:solidFill>
                <a:cs typeface="Arial"/>
              </a:rPr>
              <a:t>creos™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8194AABF-1141-450E-8788-D7E87176131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8183331" cy="6858000"/>
          </a:xfrm>
          <a:prstGeom prst="rect">
            <a:avLst/>
          </a:prstGeom>
        </p:spPr>
      </p:pic>
      <p:sp>
        <p:nvSpPr>
          <p:cNvPr id="10" name="Title 4">
            <a:extLst>
              <a:ext uri="{FF2B5EF4-FFF2-40B4-BE49-F238E27FC236}">
                <a16:creationId xmlns:a16="http://schemas.microsoft.com/office/drawing/2014/main" id="{5B3BED8A-DE95-4412-9AE1-02BED9BB2668}"/>
              </a:ext>
            </a:extLst>
          </p:cNvPr>
          <p:cNvSpPr txBox="1">
            <a:spLocks/>
          </p:cNvSpPr>
          <p:nvPr/>
        </p:nvSpPr>
        <p:spPr>
          <a:xfrm>
            <a:off x="479423" y="1916113"/>
            <a:ext cx="11084867" cy="2603605"/>
          </a:xfrm>
          <a:prstGeom prst="rect">
            <a:avLst/>
          </a:prstGeom>
          <a:noFill/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1" kern="1200" cap="none" spc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600">
                <a:solidFill>
                  <a:schemeClr val="bg1"/>
                </a:solidFill>
                <a:cs typeface="Arial"/>
              </a:rPr>
              <a:t>creos™</a:t>
            </a:r>
            <a:endParaRPr lang="en-US" sz="6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57594"/>
      </p:ext>
    </p:extLst>
  </p:cSld>
  <p:clrMapOvr>
    <a:masterClrMapping/>
  </p:clrMapOvr>
  <p:transition spd="slow">
    <p:push/>
  </p:transition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48000" fill="hold" grpId="0" nodeType="afterEffect" nodePh="1" p14:presetBounceEnd="48000">
                                      <p:stCondLst>
                                        <p:cond delay="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8000">
                                          <p:cBhvr additive="base">
                                            <p:cTn id="7" dur="1000" fill="hold"/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8000">
                                          <p:cBhvr additive="base">
                                            <p:cTn id="8" dur="1000" fill="hold"/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5" grpId="0" build="p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accel="48000" fill="hold" grpId="0" nodeType="afterEffect" nodePh="1">
                                      <p:stCondLst>
                                        <p:cond delay="0"/>
                                      </p:stCondLst>
                                      <p:endCondLst>
                                        <p:cond evt="begin" delay="0">
                                          <p:tn val="5"/>
                                        </p:cond>
                                      </p:end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45">
                                                <p:txEl>
                                                  <p:pRg st="0" end="0"/>
                                                </p:txEl>
                                              </p:spTgt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5" grpId="0" build="p"/>
        </p:bldLst>
      </p:timing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AA6659-DF9F-477B-94B7-8002E3502FF7}"/>
              </a:ext>
            </a:extLst>
          </p:cNvPr>
          <p:cNvSpPr txBox="1"/>
          <p:nvPr/>
        </p:nvSpPr>
        <p:spPr>
          <a:xfrm>
            <a:off x="386862" y="4382227"/>
            <a:ext cx="11123112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GMT69057 © Nobel Biocare Services AG, 2020. All rights reserved. Distributed by: Nobel Biocare. Legal manufacturer for creos™ xenoprotect and creos™ </a:t>
            </a:r>
            <a:r>
              <a:rPr lang="en-US" sz="1100" dirty="0" err="1"/>
              <a:t>mucogain</a:t>
            </a:r>
            <a:r>
              <a:rPr lang="en-US" sz="1100" dirty="0"/>
              <a:t> is </a:t>
            </a:r>
            <a:r>
              <a:rPr lang="en-US" sz="1100" dirty="0" err="1"/>
              <a:t>Matricel</a:t>
            </a:r>
            <a:r>
              <a:rPr lang="en-US" sz="1100" dirty="0"/>
              <a:t> GmbH, </a:t>
            </a:r>
            <a:r>
              <a:rPr lang="en-US" sz="1100" dirty="0" err="1"/>
              <a:t>Kaiserstrasse</a:t>
            </a:r>
            <a:r>
              <a:rPr lang="en-US" sz="1100" dirty="0"/>
              <a:t> 100, D-52134 </a:t>
            </a:r>
            <a:r>
              <a:rPr lang="en-US" sz="1100" dirty="0" err="1"/>
              <a:t>Herzogenrath</a:t>
            </a:r>
            <a:r>
              <a:rPr lang="en-US" sz="1100" dirty="0"/>
              <a:t>, Germany. </a:t>
            </a:r>
          </a:p>
          <a:p>
            <a:r>
              <a:rPr lang="en-US" sz="1100" dirty="0"/>
              <a:t>Nobel Biocare, the Nobel Biocare logotype and all other trademarks are, if nothing else is stated or is evident from the context in a certain case, trademarks of Nobel Biocare. Please refer to nobelbiocare.com/trademarks for more information. </a:t>
            </a:r>
          </a:p>
          <a:p>
            <a:r>
              <a:rPr lang="en-US" sz="1100" dirty="0"/>
              <a:t>Product images are not necessarily to scale. All product images are for illustration purposes only and may not be an exact representation of the product.</a:t>
            </a:r>
          </a:p>
          <a:p>
            <a:r>
              <a:rPr lang="en-US" sz="1100" dirty="0"/>
              <a:t>Disclaimer: Some products may not be regulatory cleared/released for sale in all markets. Please contact the local Nobel Biocare sales office for current product assortment and availability. </a:t>
            </a:r>
          </a:p>
          <a:p>
            <a:r>
              <a:rPr lang="en-US" sz="1100" dirty="0"/>
              <a:t>For prescription use only. Caution: Federal (United States) law restricts this device to sale by or on the order of a licensed clinician, medical professional or physician. See Instructions For Use for full prescribing information, including indications, contraindications, warnings and precautions.</a:t>
            </a:r>
          </a:p>
        </p:txBody>
      </p:sp>
    </p:spTree>
    <p:extLst>
      <p:ext uri="{BB962C8B-B14F-4D97-AF65-F5344CB8AC3E}">
        <p14:creationId xmlns:p14="http://schemas.microsoft.com/office/powerpoint/2010/main" val="1480069257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6F0E4E28-E774-4F4F-A0DE-A90900F591D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12202550" cy="6858000"/>
          </a:xfrm>
          <a:prstGeom prst="rect">
            <a:avLst/>
          </a:prstGeom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F9E8010-9B09-45AB-A8F4-3502B4BE4641}"/>
              </a:ext>
            </a:extLst>
          </p:cNvPr>
          <p:cNvSpPr txBox="1">
            <a:spLocks/>
          </p:cNvSpPr>
          <p:nvPr/>
        </p:nvSpPr>
        <p:spPr>
          <a:xfrm>
            <a:off x="191343" y="3081858"/>
            <a:ext cx="5821263" cy="3559551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 sz="2000" b="1" kern="1200" cap="none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None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600" kern="1200" spc="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>
                <a:solidFill>
                  <a:schemeClr val="bg1"/>
                </a:solidFill>
                <a:latin typeface="Mark Pro Medium" panose="020B0604020201010104" pitchFamily="34" charset="0"/>
              </a:rPr>
              <a:t>A membrane with</a:t>
            </a:r>
            <a:br>
              <a:rPr lang="en-US" sz="4000" dirty="0">
                <a:solidFill>
                  <a:schemeClr val="bg1"/>
                </a:solidFill>
                <a:latin typeface="Mark Pro Medium" panose="020B0604020201010104" pitchFamily="34" charset="0"/>
              </a:rPr>
            </a:br>
            <a:r>
              <a:rPr lang="en-US" sz="4000" dirty="0">
                <a:solidFill>
                  <a:schemeClr val="bg1"/>
                </a:solidFill>
                <a:latin typeface="Mark Pro Medium" panose="020B0604020201010104" pitchFamily="34" charset="0"/>
              </a:rPr>
              <a:t>outstanding handling that facilitates bone gain</a:t>
            </a:r>
          </a:p>
          <a:p>
            <a:r>
              <a:rPr lang="en-US" sz="4400" dirty="0">
                <a:solidFill>
                  <a:schemeClr val="bg1"/>
                </a:solidFill>
                <a:latin typeface="Mark Pro Medium" panose="020B0604020201010104" pitchFamily="34" charset="0"/>
              </a:rPr>
              <a:t>creos™ xenoprotect</a:t>
            </a:r>
            <a:endParaRPr lang="en-US" sz="4000" dirty="0">
              <a:solidFill>
                <a:schemeClr val="bg1"/>
              </a:solidFill>
              <a:latin typeface="Mark Pro Medium" panose="020B0604020201010104" pitchFamily="34" charset="0"/>
              <a:cs typeface="Arial"/>
            </a:endParaRPr>
          </a:p>
        </p:txBody>
      </p:sp>
      <p:pic>
        <p:nvPicPr>
          <p:cNvPr id="8" name="Grafik 22">
            <a:extLst>
              <a:ext uri="{FF2B5EF4-FFF2-40B4-BE49-F238E27FC236}">
                <a16:creationId xmlns:a16="http://schemas.microsoft.com/office/drawing/2014/main" id="{82ADF46E-705C-4859-872D-F8D71DEF8A7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811FCE00-9C75-496A-B44A-EBBC59A7625A}"/>
              </a:ext>
            </a:extLst>
          </p:cNvPr>
          <p:cNvSpPr txBox="1">
            <a:spLocks/>
          </p:cNvSpPr>
          <p:nvPr/>
        </p:nvSpPr>
        <p:spPr>
          <a:xfrm>
            <a:off x="6203950" y="6425409"/>
            <a:ext cx="4541747" cy="216000"/>
          </a:xfr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endParaRPr lang="en-US" sz="7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85680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B79BF61-F7D6-43D9-A274-09A13EDFCEE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B79BF61-F7D6-43D9-A274-09A13EDFC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0FD7F310-AE9A-404A-9872-20927B567D9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e-CH" sz="32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Bildplatzhalter 15">
            <a:extLst>
              <a:ext uri="{FF2B5EF4-FFF2-40B4-BE49-F238E27FC236}">
                <a16:creationId xmlns:a16="http://schemas.microsoft.com/office/drawing/2014/main" id="{84DA6F1A-52E3-49B2-A90B-2246E61B086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16695C6B-F2AA-4300-9118-3F1B7F2DE1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Einfache Handhabung</a:t>
            </a:r>
          </a:p>
        </p:txBody>
      </p:sp>
      <p:pic>
        <p:nvPicPr>
          <p:cNvPr id="17" name="Grafik 12">
            <a:extLst>
              <a:ext uri="{FF2B5EF4-FFF2-40B4-BE49-F238E27FC236}">
                <a16:creationId xmlns:a16="http://schemas.microsoft.com/office/drawing/2014/main" id="{81D96F15-6531-458F-99C6-69BB639B036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EA5D0ED4-24D8-4FC8-8110-3AB434CEF064}"/>
              </a:ext>
            </a:extLst>
          </p:cNvPr>
          <p:cNvSpPr/>
          <p:nvPr/>
        </p:nvSpPr>
        <p:spPr>
          <a:xfrm>
            <a:off x="326452" y="5549257"/>
            <a:ext cx="5668329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2400">
                <a:solidFill>
                  <a:schemeClr val="bg1"/>
                </a:solidFill>
                <a:latin typeface="Mark Pro Medium" panose="020B0604020201010104" pitchFamily="34" charset="0"/>
              </a:rPr>
              <a:t>4. Facilitates bone gai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>
                <a:solidFill>
                  <a:schemeClr val="bg1"/>
                </a:solidFill>
                <a:latin typeface="Mark Pro Medium" panose="020B0604020201010104" pitchFamily="34" charset="0"/>
              </a:rPr>
              <a:t>Good clinical results.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AU" sz="1400">
                <a:solidFill>
                  <a:schemeClr val="bg1"/>
                </a:solidFill>
                <a:latin typeface="Mark Pro Medium" panose="020B0604020201010104" pitchFamily="34" charset="0"/>
              </a:rPr>
              <a:t>Excellent tissue compatibility.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12ED425-793A-40B3-87E3-EE5E0A499BBD}"/>
              </a:ext>
            </a:extLst>
          </p:cNvPr>
          <p:cNvSpPr/>
          <p:nvPr/>
        </p:nvSpPr>
        <p:spPr>
          <a:xfrm>
            <a:off x="326452" y="1922571"/>
            <a:ext cx="479239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rk Pro Medium" panose="020B0604020201010104" pitchFamily="34" charset="0"/>
              </a:rPr>
              <a:t>2. High mechanical strength</a:t>
            </a:r>
          </a:p>
          <a:p>
            <a:pPr marL="719242" indent="-365177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Mark Pro Medium" panose="020B0604020201010104" pitchFamily="34" charset="0"/>
                <a:sym typeface="Wingdings" panose="05000000000000000000" pitchFamily="2" charset="2"/>
              </a:rPr>
              <a:t>Excellent suture retention.</a:t>
            </a:r>
          </a:p>
          <a:p>
            <a:pPr marL="719242" indent="-365177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Mark Pro Medium" panose="020B0604020201010104" pitchFamily="34" charset="0"/>
                <a:sym typeface="Wingdings" panose="05000000000000000000" pitchFamily="2" charset="2"/>
              </a:rPr>
              <a:t>Highly tear-resistant, making it easy to suture or fixate with pins.</a:t>
            </a:r>
          </a:p>
          <a:p>
            <a:pPr marL="719242" indent="-365177">
              <a:buFont typeface="Arial" panose="020B0604020202020204" pitchFamily="34" charset="0"/>
              <a:buChar char="•"/>
            </a:pPr>
            <a:endParaRPr lang="en-US" sz="1400" dirty="0">
              <a:solidFill>
                <a:schemeClr val="bg1"/>
              </a:solidFill>
              <a:latin typeface="Mark Pro Medium" panose="020B0604020201010104" pitchFamily="34" charset="0"/>
              <a:sym typeface="Wingdings" panose="05000000000000000000" pitchFamily="2" charset="2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82DD884-AB93-4FF8-AF17-CB1CB7519EF2}"/>
              </a:ext>
            </a:extLst>
          </p:cNvPr>
          <p:cNvSpPr/>
          <p:nvPr/>
        </p:nvSpPr>
        <p:spPr>
          <a:xfrm>
            <a:off x="326452" y="333067"/>
            <a:ext cx="586709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rk Pro Medium" panose="020B0604020201010104" pitchFamily="34" charset="0"/>
              </a:rPr>
              <a:t>1. Outstanding handl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Mark Pro Medium" panose="020B0604020201010104" pitchFamily="34" charset="0"/>
              </a:rPr>
              <a:t>Does not stick to instruments.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Mark Pro Medium" panose="020B0604020201010104" pitchFamily="34" charset="0"/>
              </a:rPr>
              <a:t>Repositioning in-situ possible.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Mark Pro Medium" panose="020B0604020201010104" pitchFamily="34" charset="0"/>
              </a:rPr>
              <a:t>Minimal size increase when hydrated.</a:t>
            </a:r>
            <a:endParaRPr lang="en-US" sz="2400" dirty="0">
              <a:solidFill>
                <a:schemeClr val="bg1"/>
              </a:solidFill>
              <a:latin typeface="Mark Pro Medium" panose="020B06040202010101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E5C4D80-FEDB-42B3-B9F2-47ED42BF6A51}"/>
              </a:ext>
            </a:extLst>
          </p:cNvPr>
          <p:cNvSpPr/>
          <p:nvPr/>
        </p:nvSpPr>
        <p:spPr>
          <a:xfrm>
            <a:off x="326452" y="3354052"/>
            <a:ext cx="4451736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Mark Pro Medium" panose="020B0604020201010104" pitchFamily="34" charset="0"/>
              </a:rPr>
              <a:t>3. Enduring resistance to degradation in vivo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Mark Pro Medium" panose="020B0604020201010104" pitchFamily="34" charset="0"/>
              </a:rPr>
              <a:t>Manufacturing process intended to preserve the natural structure of the collagen fiber network, </a:t>
            </a:r>
            <a:r>
              <a:rPr lang="en-US" sz="1400" b="1" dirty="0">
                <a:solidFill>
                  <a:schemeClr val="bg1"/>
                </a:solidFill>
                <a:latin typeface="Mark Pro Medium" panose="020B0604020201010104" pitchFamily="34" charset="0"/>
              </a:rPr>
              <a:t>to confer a high resistance to degradation.</a:t>
            </a:r>
          </a:p>
        </p:txBody>
      </p:sp>
    </p:spTree>
    <p:extLst>
      <p:ext uri="{BB962C8B-B14F-4D97-AF65-F5344CB8AC3E}">
        <p14:creationId xmlns:p14="http://schemas.microsoft.com/office/powerpoint/2010/main" val="1895416313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5690AF7-79FD-4375-B75C-8D8141265E0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4067438" cy="6858000"/>
          </a:xfrm>
          <a:prstGeom prst="rect">
            <a:avLst/>
          </a:prstGeom>
        </p:spPr>
      </p:pic>
      <p:pic>
        <p:nvPicPr>
          <p:cNvPr id="14" name="Picture 13" descr="A picture containing outdoor, grass, white&#10;&#10;Description automatically generated">
            <a:extLst>
              <a:ext uri="{FF2B5EF4-FFF2-40B4-BE49-F238E27FC236}">
                <a16:creationId xmlns:a16="http://schemas.microsoft.com/office/drawing/2014/main" id="{12961622-AF02-4E44-9521-9CEB40F5B45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560454" y="2226454"/>
            <a:ext cx="6858001" cy="24050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42965D67-BDB4-4E73-BF71-A45F893B27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  <a:p>
            <a:pPr lvl="1"/>
            <a:endParaRPr lang="en-US">
              <a:solidFill>
                <a:schemeClr val="tx1"/>
              </a:solidFill>
            </a:endParaRPr>
          </a:p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6C3D5-4A85-4DCE-81C2-5FFC0CDC1FA9}"/>
              </a:ext>
            </a:extLst>
          </p:cNvPr>
          <p:cNvSpPr/>
          <p:nvPr/>
        </p:nvSpPr>
        <p:spPr>
          <a:xfrm>
            <a:off x="4064001" y="0"/>
            <a:ext cx="57157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AU" dirty="0">
              <a:solidFill>
                <a:schemeClr val="tx1"/>
              </a:solidFill>
            </a:endParaRPr>
          </a:p>
          <a:p>
            <a:endParaRPr lang="en-AU" dirty="0">
              <a:solidFill>
                <a:schemeClr val="tx1"/>
              </a:solidFill>
            </a:endParaRPr>
          </a:p>
          <a:p>
            <a:pPr marL="342900" indent="-342900">
              <a:buFont typeface="Symbol" panose="05050102010706020507" pitchFamily="18" charset="2"/>
              <a:buChar char="-"/>
            </a:pPr>
            <a:r>
              <a:rPr lang="en-AU" sz="2400" dirty="0">
                <a:solidFill>
                  <a:schemeClr val="tx1"/>
                </a:solidFill>
              </a:rPr>
              <a:t>creos™ xenoprotect is a membrane composed of a network of highly purified porcine collagen and elastin </a:t>
            </a:r>
            <a:r>
              <a:rPr lang="en-AU" sz="2400" dirty="0" err="1">
                <a:solidFill>
                  <a:schemeClr val="tx1"/>
                </a:solidFill>
              </a:rPr>
              <a:t>fibers</a:t>
            </a:r>
            <a:r>
              <a:rPr lang="en-AU" sz="2400" dirty="0">
                <a:solidFill>
                  <a:schemeClr val="tx1"/>
                </a:solidFill>
              </a:rPr>
              <a:t>.</a:t>
            </a:r>
          </a:p>
          <a:p>
            <a:pPr marL="342900" indent="-342900">
              <a:buFont typeface="Symbol" panose="05050102010706020507" pitchFamily="18" charset="2"/>
              <a:buChar char="-"/>
            </a:pPr>
            <a:endParaRPr lang="en-AU" sz="2400" dirty="0">
              <a:solidFill>
                <a:schemeClr val="tx1"/>
              </a:solidFill>
            </a:endParaRPr>
          </a:p>
          <a:p>
            <a:pPr marL="342900" lvl="0" indent="-342900">
              <a:buFont typeface="Symbol" panose="05050102010706020507" pitchFamily="18" charset="2"/>
              <a:buChar char="-"/>
            </a:pPr>
            <a:r>
              <a:rPr lang="en-US" sz="2400" dirty="0">
                <a:solidFill>
                  <a:schemeClr val="tx1"/>
                </a:solidFill>
              </a:rPr>
              <a:t>The manufacturing process is intended to preserve the natural structure of the collagen fiber network, to confer a high resistance to degradation.</a:t>
            </a:r>
          </a:p>
          <a:p>
            <a:pPr marL="342900" lvl="0" indent="-342900">
              <a:buFont typeface="Symbol" panose="05050102010706020507" pitchFamily="18" charset="2"/>
              <a:buChar char="-"/>
            </a:pPr>
            <a:endParaRPr lang="en-AU" sz="2400" dirty="0">
              <a:solidFill>
                <a:schemeClr val="tx1"/>
              </a:solidFill>
            </a:endParaRPr>
          </a:p>
          <a:p>
            <a:pPr marL="342900" indent="-342900">
              <a:buFont typeface="Symbol" panose="05050102010706020507" pitchFamily="18" charset="2"/>
              <a:buChar char="-"/>
            </a:pPr>
            <a:r>
              <a:rPr lang="en-AU" sz="2400" dirty="0">
                <a:solidFill>
                  <a:schemeClr val="tx1"/>
                </a:solidFill>
              </a:rPr>
              <a:t>A natural barrier with outstanding handling properties.</a:t>
            </a:r>
          </a:p>
          <a:p>
            <a:pPr marL="342900" lvl="0" indent="-342900">
              <a:buFont typeface="Symbol" panose="05050102010706020507" pitchFamily="18" charset="2"/>
              <a:buChar char="-"/>
            </a:pPr>
            <a:endParaRPr lang="en-AU" sz="2400" dirty="0">
              <a:solidFill>
                <a:schemeClr val="tx1"/>
              </a:solidFill>
            </a:endParaRPr>
          </a:p>
          <a:p>
            <a:pPr marL="342900" lvl="0" indent="-342900">
              <a:buFont typeface="Symbol" panose="05050102010706020507" pitchFamily="18" charset="2"/>
              <a:buChar char="-"/>
            </a:pPr>
            <a:endParaRPr lang="en-AU" sz="2400" dirty="0">
              <a:solidFill>
                <a:schemeClr val="tx1"/>
              </a:solidFill>
            </a:endParaRPr>
          </a:p>
          <a:p>
            <a:pPr marL="285750" indent="-285750">
              <a:buFont typeface="Symbol" panose="05050102010706020507" pitchFamily="18" charset="2"/>
              <a:buChar char="-"/>
            </a:pPr>
            <a:endParaRPr lang="en-AU" dirty="0">
              <a:solidFill>
                <a:schemeClr val="tx1"/>
              </a:solidFill>
            </a:endParaRPr>
          </a:p>
        </p:txBody>
      </p:sp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What is </a:t>
            </a:r>
            <a:br>
              <a:rPr lang="en-US" sz="4000" dirty="0">
                <a:solidFill>
                  <a:prstClr val="white"/>
                </a:solidFill>
              </a:rPr>
            </a:br>
            <a:r>
              <a:rPr lang="en-US" sz="4000" dirty="0">
                <a:solidFill>
                  <a:prstClr val="white"/>
                </a:solidFill>
              </a:rPr>
              <a:t>creos™ xenoprotect?</a:t>
            </a: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</p:txBody>
      </p:sp>
      <p:pic>
        <p:nvPicPr>
          <p:cNvPr id="8" name="Picture 7" descr="A picture containing black, sitting, indoor&#10;&#10;Description automatically generated">
            <a:extLst>
              <a:ext uri="{FF2B5EF4-FFF2-40B4-BE49-F238E27FC236}">
                <a16:creationId xmlns:a16="http://schemas.microsoft.com/office/drawing/2014/main" id="{BA039F18-26B8-40F9-BD37-A7716443912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900000" flipV="1">
            <a:off x="-1329000" y="3069731"/>
            <a:ext cx="4887343" cy="27259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14450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55690AF7-79FD-4375-B75C-8D8141265E0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4067438" cy="6858000"/>
          </a:xfrm>
          <a:prstGeom prst="rect">
            <a:avLst/>
          </a:prstGeom>
        </p:spPr>
      </p:pic>
      <p:pic>
        <p:nvPicPr>
          <p:cNvPr id="14" name="Picture 13" descr="A picture containing outdoor, grass, white&#10;&#10;Description automatically generated">
            <a:extLst>
              <a:ext uri="{FF2B5EF4-FFF2-40B4-BE49-F238E27FC236}">
                <a16:creationId xmlns:a16="http://schemas.microsoft.com/office/drawing/2014/main" id="{12961622-AF02-4E44-9521-9CEB40F5B45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>
            <a:off x="7560454" y="2226454"/>
            <a:ext cx="6858001" cy="240509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42965D67-BDB4-4E73-BF71-A45F893B27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endParaRPr lang="en-US">
              <a:solidFill>
                <a:schemeClr val="tx1"/>
              </a:solidFill>
            </a:endParaRPr>
          </a:p>
          <a:p>
            <a:pPr lvl="1"/>
            <a:endParaRPr lang="en-US">
              <a:solidFill>
                <a:schemeClr val="tx1"/>
              </a:solidFill>
            </a:endParaRPr>
          </a:p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086C3D5-4A85-4DCE-81C2-5FFC0CDC1FA9}"/>
              </a:ext>
            </a:extLst>
          </p:cNvPr>
          <p:cNvSpPr/>
          <p:nvPr/>
        </p:nvSpPr>
        <p:spPr>
          <a:xfrm>
            <a:off x="4064001" y="-1"/>
            <a:ext cx="5715794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fontAlgn="t"/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1" y="402976"/>
            <a:ext cx="3803149" cy="30691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Available in 3 sizes</a:t>
            </a: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</p:txBody>
      </p:sp>
      <p:pic>
        <p:nvPicPr>
          <p:cNvPr id="8" name="Picture 7" descr="A picture containing black, sitting, indoor&#10;&#10;Description automatically generated">
            <a:extLst>
              <a:ext uri="{FF2B5EF4-FFF2-40B4-BE49-F238E27FC236}">
                <a16:creationId xmlns:a16="http://schemas.microsoft.com/office/drawing/2014/main" id="{BA039F18-26B8-40F9-BD37-A7716443912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900000" flipV="1">
            <a:off x="-1329000" y="3069731"/>
            <a:ext cx="4887343" cy="2725991"/>
          </a:xfrm>
          <a:prstGeom prst="rect">
            <a:avLst/>
          </a:prstGeom>
        </p:spPr>
      </p:pic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CE047DC5-C121-4EC3-B1A3-40BC5D0A97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7698307"/>
              </p:ext>
            </p:extLst>
          </p:nvPr>
        </p:nvGraphicFramePr>
        <p:xfrm>
          <a:off x="4861891" y="1465857"/>
          <a:ext cx="3939487" cy="16467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4545">
                  <a:extLst>
                    <a:ext uri="{9D8B030D-6E8A-4147-A177-3AD203B41FA5}">
                      <a16:colId xmlns:a16="http://schemas.microsoft.com/office/drawing/2014/main" val="1451492086"/>
                    </a:ext>
                  </a:extLst>
                </a:gridCol>
                <a:gridCol w="1984942">
                  <a:extLst>
                    <a:ext uri="{9D8B030D-6E8A-4147-A177-3AD203B41FA5}">
                      <a16:colId xmlns:a16="http://schemas.microsoft.com/office/drawing/2014/main" val="271141813"/>
                    </a:ext>
                  </a:extLst>
                </a:gridCol>
              </a:tblGrid>
              <a:tr h="411699">
                <a:tc>
                  <a:txBody>
                    <a:bodyPr/>
                    <a:lstStyle/>
                    <a:p>
                      <a:pPr algn="ctr"/>
                      <a:r>
                        <a:rPr lang="de-CH" dirty="0" err="1"/>
                        <a:t>Article</a:t>
                      </a:r>
                      <a:endParaRPr lang="de-CH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27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Siz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242013"/>
                  </a:ext>
                </a:extLst>
              </a:tr>
              <a:tr h="411699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N15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15x20 m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0842462"/>
                  </a:ext>
                </a:extLst>
              </a:tr>
              <a:tr h="411699">
                <a:tc>
                  <a:txBody>
                    <a:bodyPr/>
                    <a:lstStyle/>
                    <a:p>
                      <a:pPr algn="ctr"/>
                      <a:r>
                        <a:rPr lang="de-CH" dirty="0"/>
                        <a:t>N253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CH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25x30 mm</a:t>
                      </a:r>
                      <a:endParaRPr lang="de-CH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2962554"/>
                  </a:ext>
                </a:extLst>
              </a:tr>
              <a:tr h="411699">
                <a:tc>
                  <a:txBody>
                    <a:bodyPr/>
                    <a:lstStyle/>
                    <a:p>
                      <a:pPr algn="ctr"/>
                      <a:r>
                        <a:rPr lang="nl-NL" dirty="0"/>
                        <a:t>N304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l-NL" dirty="0"/>
                        <a:t>30x40 mm</a:t>
                      </a:r>
                      <a:endParaRPr lang="de-CH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305843"/>
                  </a:ext>
                </a:extLst>
              </a:tr>
            </a:tbl>
          </a:graphicData>
        </a:graphic>
      </p:graphicFrame>
      <p:pic>
        <p:nvPicPr>
          <p:cNvPr id="5" name="Picture 4" descr="A picture containing toiletry&#10;&#10;Description automatically generated">
            <a:extLst>
              <a:ext uri="{FF2B5EF4-FFF2-40B4-BE49-F238E27FC236}">
                <a16:creationId xmlns:a16="http://schemas.microsoft.com/office/drawing/2014/main" id="{C32FCCB4-8B7B-40CC-9625-C4040628561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7432" y="2740314"/>
            <a:ext cx="5524038" cy="3905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985249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BE8D227-FAA3-4A42-BF05-835D29E897D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1944" y="0"/>
            <a:ext cx="4050055" cy="341879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779285F-A133-47D5-A419-724C80D7831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41944" y="3416394"/>
            <a:ext cx="4050056" cy="3469222"/>
          </a:xfrm>
          <a:prstGeom prst="rect">
            <a:avLst/>
          </a:prstGeom>
        </p:spPr>
      </p:pic>
      <p:pic>
        <p:nvPicPr>
          <p:cNvPr id="17" name="Picture 16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11EA53F1-E31F-439C-A827-8608C9D35AC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4067438" cy="6858000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>
            <a:extLst>
              <a:ext uri="{FF2B5EF4-FFF2-40B4-BE49-F238E27FC236}">
                <a16:creationId xmlns:a16="http://schemas.microsoft.com/office/drawing/2014/main" id="{42965D67-BDB4-4E73-BF71-A45F893B27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476251"/>
            <a:ext cx="3600000" cy="1605643"/>
          </a:xfrm>
        </p:spPr>
        <p:txBody>
          <a:bodyPr>
            <a:noAutofit/>
          </a:bodyPr>
          <a:lstStyle/>
          <a:p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78051" y="432015"/>
            <a:ext cx="3929072" cy="63593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0"/>
              </a:spcBef>
            </a:pPr>
            <a:r>
              <a:rPr lang="en-US" sz="4000" dirty="0">
                <a:solidFill>
                  <a:prstClr val="white"/>
                </a:solidFill>
              </a:rPr>
              <a:t>1. Outstanding handling</a:t>
            </a:r>
          </a:p>
          <a:p>
            <a:pPr lvl="0" defTabSz="914400">
              <a:spcBef>
                <a:spcPts val="0"/>
              </a:spcBef>
            </a:pPr>
            <a:endParaRPr lang="en-US" sz="40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44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3200" dirty="0">
              <a:solidFill>
                <a:prstClr val="white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D0EDFB-D20C-4338-BB8D-D477A08D28CE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5421" y="0"/>
            <a:ext cx="4109693" cy="3429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766185E-AD80-4705-8C17-0791EBE4AF3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54383" y="3388778"/>
            <a:ext cx="4069263" cy="3469222"/>
          </a:xfrm>
          <a:prstGeom prst="rect">
            <a:avLst/>
          </a:prstGeom>
        </p:spPr>
      </p:pic>
      <p:pic>
        <p:nvPicPr>
          <p:cNvPr id="32" name="Picture 31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94F8EC5F-C777-45CA-BA90-163AE67EF8C4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8591" y="0"/>
            <a:ext cx="49765" cy="6885616"/>
          </a:xfrm>
          <a:prstGeom prst="rect">
            <a:avLst/>
          </a:prstGeom>
        </p:spPr>
      </p:pic>
      <p:pic>
        <p:nvPicPr>
          <p:cNvPr id="33" name="Picture 3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E02361B5-EA43-440E-95DD-0C1291EF0AAF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6543" y="0"/>
            <a:ext cx="49765" cy="6885616"/>
          </a:xfrm>
          <a:prstGeom prst="rect">
            <a:avLst/>
          </a:prstGeom>
        </p:spPr>
      </p:pic>
      <p:pic>
        <p:nvPicPr>
          <p:cNvPr id="34" name="Picture 3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8242A5E2-EE17-4BC4-B71C-5A74749FDB7E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5741" y="3397088"/>
            <a:ext cx="4067438" cy="45719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B8B2C009-E13B-4946-8A44-89A1F02840F5}"/>
              </a:ext>
            </a:extLst>
          </p:cNvPr>
          <p:cNvSpPr/>
          <p:nvPr/>
        </p:nvSpPr>
        <p:spPr>
          <a:xfrm>
            <a:off x="4018591" y="3392334"/>
            <a:ext cx="8173409" cy="45719"/>
          </a:xfrm>
          <a:prstGeom prst="rect">
            <a:avLst/>
          </a:prstGeom>
          <a:solidFill>
            <a:srgbClr val="006E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F050268B-ECF2-4965-8FC9-3102B7D60644}"/>
              </a:ext>
            </a:extLst>
          </p:cNvPr>
          <p:cNvSpPr/>
          <p:nvPr/>
        </p:nvSpPr>
        <p:spPr>
          <a:xfrm>
            <a:off x="4804621" y="3005285"/>
            <a:ext cx="258275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/>
              <a:t>Both sides can face the defec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85D52E0-E74C-41EF-B08C-9362E9B91302}"/>
              </a:ext>
            </a:extLst>
          </p:cNvPr>
          <p:cNvSpPr/>
          <p:nvPr/>
        </p:nvSpPr>
        <p:spPr>
          <a:xfrm>
            <a:off x="9249085" y="3004269"/>
            <a:ext cx="20842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/>
              <a:t>Easy to trim (dry or wet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F86741-C7D7-4E8A-8B11-2302A0EFFDBB}"/>
              </a:ext>
            </a:extLst>
          </p:cNvPr>
          <p:cNvSpPr/>
          <p:nvPr/>
        </p:nvSpPr>
        <p:spPr>
          <a:xfrm>
            <a:off x="4512139" y="6481741"/>
            <a:ext cx="328808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00" dirty="0"/>
              <a:t>Low surface expansion when hydrated</a:t>
            </a:r>
            <a:r>
              <a:rPr lang="de-CH" sz="1400" dirty="0"/>
              <a:t>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6FD60F3-0018-4D5B-AE1D-88153E4E258E}"/>
              </a:ext>
            </a:extLst>
          </p:cNvPr>
          <p:cNvSpPr/>
          <p:nvPr/>
        </p:nvSpPr>
        <p:spPr>
          <a:xfrm>
            <a:off x="9049512" y="6483560"/>
            <a:ext cx="248337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CH" sz="1400" dirty="0" err="1"/>
              <a:t>Does</a:t>
            </a:r>
            <a:r>
              <a:rPr lang="de-CH" sz="1400" dirty="0"/>
              <a:t> not stick </a:t>
            </a:r>
            <a:r>
              <a:rPr lang="de-CH" sz="1400" dirty="0" err="1"/>
              <a:t>to</a:t>
            </a:r>
            <a:r>
              <a:rPr lang="de-CH" sz="1400" dirty="0"/>
              <a:t> </a:t>
            </a:r>
            <a:r>
              <a:rPr lang="de-CH" sz="1400" dirty="0" err="1"/>
              <a:t>instruments</a:t>
            </a:r>
            <a:endParaRPr lang="de-CH" sz="14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6DA20DC-3584-46B9-9B7F-6926B74B4430}"/>
              </a:ext>
            </a:extLst>
          </p:cNvPr>
          <p:cNvSpPr/>
          <p:nvPr/>
        </p:nvSpPr>
        <p:spPr>
          <a:xfrm>
            <a:off x="-224060" y="3611676"/>
            <a:ext cx="4067438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>
                <a:solidFill>
                  <a:schemeClr val="bg1"/>
                </a:solidFill>
              </a:rPr>
              <a:t>Both sides can face the defect</a:t>
            </a:r>
            <a:endParaRPr lang="de-CH" sz="1600" dirty="0">
              <a:solidFill>
                <a:schemeClr val="bg1"/>
              </a:solidFill>
            </a:endParaRP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>
                <a:solidFill>
                  <a:schemeClr val="bg1"/>
                </a:solidFill>
              </a:rPr>
              <a:t>Easy to trim (dry or wet) 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>
                <a:solidFill>
                  <a:schemeClr val="bg1"/>
                </a:solidFill>
              </a:rPr>
              <a:t>Low surface expansion when hydrated.</a:t>
            </a:r>
          </a:p>
          <a:p>
            <a:pPr marL="742950" lvl="1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dirty="0">
                <a:solidFill>
                  <a:schemeClr val="bg1"/>
                </a:solidFill>
              </a:rPr>
              <a:t>Does not stick to instruments, repositioning in-situ possible.</a:t>
            </a:r>
          </a:p>
        </p:txBody>
      </p:sp>
    </p:spTree>
    <p:extLst>
      <p:ext uri="{BB962C8B-B14F-4D97-AF65-F5344CB8AC3E}">
        <p14:creationId xmlns:p14="http://schemas.microsoft.com/office/powerpoint/2010/main" val="2950317912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11EA53F1-E31F-439C-A827-8608C9D35AC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4067438" cy="6858000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2" y="402975"/>
            <a:ext cx="3743994" cy="56103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0"/>
              </a:spcBef>
            </a:pPr>
            <a:r>
              <a:rPr lang="en-US" sz="3600" dirty="0">
                <a:solidFill>
                  <a:prstClr val="white"/>
                </a:solidFill>
              </a:rPr>
              <a:t>2. High mechanical strength and tear resistance</a:t>
            </a:r>
            <a:r>
              <a:rPr lang="en-US" sz="3600" baseline="30000" dirty="0">
                <a:solidFill>
                  <a:prstClr val="white"/>
                </a:solidFill>
              </a:rPr>
              <a:t>#</a:t>
            </a:r>
          </a:p>
          <a:p>
            <a:pPr defTabSz="914400">
              <a:spcBef>
                <a:spcPts val="0"/>
              </a:spcBef>
            </a:pPr>
            <a:endParaRPr lang="en-US" sz="3600" dirty="0">
              <a:solidFill>
                <a:prstClr val="white"/>
              </a:solidFill>
            </a:endParaRPr>
          </a:p>
          <a:p>
            <a:pPr defTabSz="914400">
              <a:spcBef>
                <a:spcPts val="0"/>
              </a:spcBef>
            </a:pPr>
            <a:endParaRPr lang="en-US" sz="3600" b="0" dirty="0">
              <a:solidFill>
                <a:prstClr val="white"/>
              </a:solidFill>
            </a:endParaRPr>
          </a:p>
          <a:p>
            <a:pPr defTabSz="914400">
              <a:spcBef>
                <a:spcPts val="0"/>
              </a:spcBef>
            </a:pPr>
            <a:endParaRPr lang="en-US" sz="3600" b="0" dirty="0">
              <a:solidFill>
                <a:prstClr val="white"/>
              </a:solidFill>
            </a:endParaRPr>
          </a:p>
          <a:p>
            <a:pPr defTabSz="914400">
              <a:spcBef>
                <a:spcPts val="0"/>
              </a:spcBef>
            </a:pPr>
            <a:endParaRPr lang="en-US" sz="2000" b="0" dirty="0">
              <a:solidFill>
                <a:prstClr val="white"/>
              </a:solidFill>
            </a:endParaRPr>
          </a:p>
          <a:p>
            <a:pPr defTabSz="914400">
              <a:spcBef>
                <a:spcPts val="0"/>
              </a:spcBef>
            </a:pPr>
            <a:endParaRPr lang="en-US" sz="3600" b="0" dirty="0">
              <a:solidFill>
                <a:prstClr val="white"/>
              </a:solidFill>
            </a:endParaRPr>
          </a:p>
          <a:p>
            <a:pPr defTabSz="914400">
              <a:spcBef>
                <a:spcPts val="0"/>
              </a:spcBef>
            </a:pPr>
            <a:endParaRPr lang="en-US" sz="2000" b="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3000" dirty="0">
              <a:solidFill>
                <a:prstClr val="white"/>
              </a:solidFill>
            </a:endParaRP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CF4575CF-4B1E-4376-A49A-3AFFBDE92DDB}"/>
              </a:ext>
            </a:extLst>
          </p:cNvPr>
          <p:cNvSpPr txBox="1">
            <a:spLocks/>
          </p:cNvSpPr>
          <p:nvPr/>
        </p:nvSpPr>
        <p:spPr>
          <a:xfrm>
            <a:off x="4306968" y="6436859"/>
            <a:ext cx="5329378" cy="3254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indent="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None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0000" indent="-36000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720000" indent="-36000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80000" indent="-36000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06384" indent="-200582" algn="l" defTabSz="802322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7546" indent="-200582" algn="l" defTabSz="802322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8706" indent="-200582" algn="l" defTabSz="802322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9868" indent="-200582" algn="l" defTabSz="802322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0"/>
              <a:t>Gasser A, Wessing B, </a:t>
            </a:r>
            <a:r>
              <a:rPr lang="en-US" sz="1200" b="0" err="1"/>
              <a:t>Eummelen</a:t>
            </a:r>
            <a:r>
              <a:rPr lang="en-US" sz="1200" b="0"/>
              <a:t> L, et al. Mechanical stability of collagen membranes: an in vitro study. J Dent Res 2016;95(Spec </a:t>
            </a:r>
            <a:r>
              <a:rPr lang="en-US" sz="1200" b="0" err="1"/>
              <a:t>Iss</a:t>
            </a:r>
            <a:r>
              <a:rPr lang="en-US" sz="1200" b="0"/>
              <a:t> A): 1683</a:t>
            </a:r>
          </a:p>
        </p:txBody>
      </p:sp>
      <p:pic>
        <p:nvPicPr>
          <p:cNvPr id="13" name="Picture 12" descr="Tensile_testing_1.jpg">
            <a:extLst>
              <a:ext uri="{FF2B5EF4-FFF2-40B4-BE49-F238E27FC236}">
                <a16:creationId xmlns:a16="http://schemas.microsoft.com/office/drawing/2014/main" id="{B39A5F88-4E6D-4AD1-87F7-DE4C90E091C4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779795" y="-443"/>
            <a:ext cx="2411413" cy="6862973"/>
          </a:xfrm>
          <a:prstGeom prst="rect">
            <a:avLst/>
          </a:prstGeom>
        </p:spPr>
      </p:pic>
      <p:pic>
        <p:nvPicPr>
          <p:cNvPr id="14" name="Picture 3">
            <a:extLst>
              <a:ext uri="{FF2B5EF4-FFF2-40B4-BE49-F238E27FC236}">
                <a16:creationId xmlns:a16="http://schemas.microsoft.com/office/drawing/2014/main" id="{D974EA1D-1652-4349-95C4-AAC071879C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6968" y="2133601"/>
            <a:ext cx="4993059" cy="1898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3">
            <a:extLst>
              <a:ext uri="{FF2B5EF4-FFF2-40B4-BE49-F238E27FC236}">
                <a16:creationId xmlns:a16="http://schemas.microsoft.com/office/drawing/2014/main" id="{D11A7FB6-79F9-487D-8727-B09BD71D1FD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02064" y="3866678"/>
            <a:ext cx="4859929" cy="969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Grafik 12">
            <a:extLst>
              <a:ext uri="{FF2B5EF4-FFF2-40B4-BE49-F238E27FC236}">
                <a16:creationId xmlns:a16="http://schemas.microsoft.com/office/drawing/2014/main" id="{DD5F8BC6-94DF-4656-8E3D-1538EFACA13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A38E2A-49CD-4F7D-907A-4FFDD4AB65DC}"/>
              </a:ext>
            </a:extLst>
          </p:cNvPr>
          <p:cNvSpPr/>
          <p:nvPr/>
        </p:nvSpPr>
        <p:spPr>
          <a:xfrm>
            <a:off x="178302" y="6351854"/>
            <a:ext cx="32111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aseline="30000" dirty="0">
                <a:solidFill>
                  <a:prstClr val="white"/>
                </a:solidFill>
              </a:rPr>
              <a:t># </a:t>
            </a:r>
            <a:r>
              <a:rPr lang="en-US" dirty="0">
                <a:solidFill>
                  <a:prstClr val="white"/>
                </a:solidFill>
              </a:rPr>
              <a:t>as shown in an </a:t>
            </a:r>
            <a:r>
              <a:rPr lang="en-US" i="1" dirty="0">
                <a:solidFill>
                  <a:prstClr val="white"/>
                </a:solidFill>
              </a:rPr>
              <a:t>in vitro </a:t>
            </a:r>
            <a:r>
              <a:rPr lang="en-US" dirty="0">
                <a:solidFill>
                  <a:prstClr val="white"/>
                </a:solidFill>
              </a:rPr>
              <a:t>study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84A1EBA-50BD-4888-9636-AAC27F0001BF}"/>
              </a:ext>
            </a:extLst>
          </p:cNvPr>
          <p:cNvSpPr txBox="1"/>
          <p:nvPr/>
        </p:nvSpPr>
        <p:spPr>
          <a:xfrm>
            <a:off x="4743876" y="5221247"/>
            <a:ext cx="1787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i="1" dirty="0"/>
              <a:t>* statistically significant</a:t>
            </a:r>
          </a:p>
        </p:txBody>
      </p:sp>
    </p:spTree>
    <p:extLst>
      <p:ext uri="{BB962C8B-B14F-4D97-AF65-F5344CB8AC3E}">
        <p14:creationId xmlns:p14="http://schemas.microsoft.com/office/powerpoint/2010/main" val="3102595566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AE1BD9CF-1340-408F-9444-2FFF530760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550" y="0"/>
            <a:ext cx="4067438" cy="6858000"/>
          </a:xfrm>
          <a:prstGeom prst="rect">
            <a:avLst/>
          </a:prstGeom>
        </p:spPr>
      </p:pic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D4B61697-D667-4B3D-A154-3D9CF5086B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D4B61697-D667-4B3D-A154-3D9CF5086B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egnaposto testo 10">
            <a:extLst>
              <a:ext uri="{FF2B5EF4-FFF2-40B4-BE49-F238E27FC236}">
                <a16:creationId xmlns:a16="http://schemas.microsoft.com/office/drawing/2014/main" id="{199573A9-43AE-4960-BDF2-5DE72D69DAB8}"/>
              </a:ext>
            </a:extLst>
          </p:cNvPr>
          <p:cNvSpPr txBox="1">
            <a:spLocks/>
          </p:cNvSpPr>
          <p:nvPr/>
        </p:nvSpPr>
        <p:spPr>
          <a:xfrm>
            <a:off x="178302" y="402975"/>
            <a:ext cx="3743994" cy="63593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lang="it-IT" sz="1600" b="1" kern="1200" spc="1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18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de-DE" sz="1600" kern="1200" spc="5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54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it-IT" sz="1400" kern="1200" spc="5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720000" indent="-180000" algn="l" defTabSz="58037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lang="en-US" sz="1400" kern="1200" spc="5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596017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8620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76386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6571" indent="-145092" algn="l" defTabSz="580370" rtl="0" eaLnBrk="1" latinLnBrk="0" hangingPunct="1">
              <a:lnSpc>
                <a:spcPct val="90000"/>
              </a:lnSpc>
              <a:spcBef>
                <a:spcPts val="317"/>
              </a:spcBef>
              <a:buFont typeface="Arial" panose="020B0604020202020204" pitchFamily="34" charset="0"/>
              <a:buChar char="•"/>
              <a:defRPr sz="114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>
              <a:spcBef>
                <a:spcPts val="0"/>
              </a:spcBef>
            </a:pPr>
            <a:r>
              <a:rPr lang="en-US" sz="3600" dirty="0">
                <a:solidFill>
                  <a:prstClr val="white"/>
                </a:solidFill>
              </a:rPr>
              <a:t>2. High suture resistance</a:t>
            </a:r>
            <a:r>
              <a:rPr lang="en-US" sz="3600" baseline="30000" dirty="0">
                <a:solidFill>
                  <a:prstClr val="white"/>
                </a:solidFill>
              </a:rPr>
              <a:t>#</a:t>
            </a:r>
          </a:p>
          <a:p>
            <a:pPr defTabSz="914400">
              <a:spcBef>
                <a:spcPts val="0"/>
              </a:spcBef>
            </a:pPr>
            <a:endParaRPr lang="en-US" sz="36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36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  <a:p>
            <a:pPr lvl="0" defTabSz="914400">
              <a:spcBef>
                <a:spcPts val="0"/>
              </a:spcBef>
            </a:pPr>
            <a:endParaRPr lang="en-US" sz="2800" dirty="0">
              <a:solidFill>
                <a:prstClr val="white"/>
              </a:solidFill>
            </a:endParaRPr>
          </a:p>
        </p:txBody>
      </p:sp>
      <p:pic>
        <p:nvPicPr>
          <p:cNvPr id="16" name="Picture 3">
            <a:extLst>
              <a:ext uri="{FF2B5EF4-FFF2-40B4-BE49-F238E27FC236}">
                <a16:creationId xmlns:a16="http://schemas.microsoft.com/office/drawing/2014/main" id="{DD5152FA-203A-4229-B96F-F67F47DA6A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80548" y="2306410"/>
            <a:ext cx="4859929" cy="25524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 descr="Suture_retention_3.jpg">
            <a:extLst>
              <a:ext uri="{FF2B5EF4-FFF2-40B4-BE49-F238E27FC236}">
                <a16:creationId xmlns:a16="http://schemas.microsoft.com/office/drawing/2014/main" id="{4CA57255-92BC-4573-A43E-8998192C4AA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728994" y="3176"/>
            <a:ext cx="2460432" cy="6858001"/>
          </a:xfrm>
          <a:prstGeom prst="rect">
            <a:avLst/>
          </a:prstGeom>
        </p:spPr>
      </p:pic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89F108C-AD60-4C88-A7E1-43CF1002A411}"/>
              </a:ext>
            </a:extLst>
          </p:cNvPr>
          <p:cNvSpPr txBox="1">
            <a:spLocks/>
          </p:cNvSpPr>
          <p:nvPr/>
        </p:nvSpPr>
        <p:spPr>
          <a:xfrm>
            <a:off x="4306968" y="6436859"/>
            <a:ext cx="5329378" cy="32543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Tx/>
              <a:buNone/>
              <a:defRPr sz="1800" b="1" kern="1200">
                <a:solidFill>
                  <a:srgbClr val="000000"/>
                </a:solidFill>
                <a:latin typeface="+mj-lt"/>
                <a:ea typeface="+mn-ea"/>
                <a:cs typeface="+mn-cs"/>
              </a:defRPr>
            </a:lvl1pPr>
            <a:lvl2pPr marL="0" indent="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None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360000" indent="-36000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2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720000" indent="-36000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080000" indent="-360000" algn="r" defTabSz="802322" rtl="0" eaLnBrk="1" latinLnBrk="0" hangingPunct="1">
              <a:lnSpc>
                <a:spcPct val="100000"/>
              </a:lnSpc>
              <a:spcBef>
                <a:spcPts val="600"/>
              </a:spcBef>
              <a:buFont typeface="Symbol" panose="05050102010706020507" pitchFamily="18" charset="2"/>
              <a:buChar char="-"/>
              <a:defRPr sz="20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206384" indent="-200582" algn="l" defTabSz="802322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07546" indent="-200582" algn="l" defTabSz="802322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08706" indent="-200582" algn="l" defTabSz="802322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09868" indent="-200582" algn="l" defTabSz="802322" rtl="0" eaLnBrk="1" latinLnBrk="0" hangingPunct="1">
              <a:lnSpc>
                <a:spcPct val="90000"/>
              </a:lnSpc>
              <a:spcBef>
                <a:spcPts val="438"/>
              </a:spcBef>
              <a:buFont typeface="Arial" panose="020B0604020202020204" pitchFamily="34" charset="0"/>
              <a:buChar char="•"/>
              <a:defRPr sz="150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200" b="0"/>
              <a:t>Gasser A, Wessing B, </a:t>
            </a:r>
            <a:r>
              <a:rPr lang="en-US" sz="1200" b="0" err="1"/>
              <a:t>Eummelen</a:t>
            </a:r>
            <a:r>
              <a:rPr lang="en-US" sz="1200" b="0"/>
              <a:t> L, et al. Mechanical stability of collagen membranes: an in vitro study. J Dent Res 2016;95(Spec </a:t>
            </a:r>
            <a:r>
              <a:rPr lang="en-US" sz="1200" b="0" err="1"/>
              <a:t>Iss</a:t>
            </a:r>
            <a:r>
              <a:rPr lang="en-US" sz="1200" b="0"/>
              <a:t> A): 1683</a:t>
            </a:r>
          </a:p>
        </p:txBody>
      </p:sp>
      <p:pic>
        <p:nvPicPr>
          <p:cNvPr id="12" name="Grafik 12">
            <a:extLst>
              <a:ext uri="{FF2B5EF4-FFF2-40B4-BE49-F238E27FC236}">
                <a16:creationId xmlns:a16="http://schemas.microsoft.com/office/drawing/2014/main" id="{4E62FE32-6E9E-4B1F-B6C6-6AEF924D2271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76952" y="523641"/>
            <a:ext cx="1305452" cy="431712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98990BC9-204B-46F4-ACA0-7E8CF1CCEFC1}"/>
              </a:ext>
            </a:extLst>
          </p:cNvPr>
          <p:cNvSpPr/>
          <p:nvPr/>
        </p:nvSpPr>
        <p:spPr>
          <a:xfrm>
            <a:off x="178302" y="6351854"/>
            <a:ext cx="32111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aseline="30000" dirty="0">
                <a:solidFill>
                  <a:prstClr val="white"/>
                </a:solidFill>
              </a:rPr>
              <a:t># </a:t>
            </a:r>
            <a:r>
              <a:rPr lang="en-US" dirty="0">
                <a:solidFill>
                  <a:prstClr val="white"/>
                </a:solidFill>
              </a:rPr>
              <a:t>as shown in an </a:t>
            </a:r>
            <a:r>
              <a:rPr lang="en-US" i="1" dirty="0">
                <a:solidFill>
                  <a:prstClr val="white"/>
                </a:solidFill>
              </a:rPr>
              <a:t>in vitro </a:t>
            </a:r>
            <a:r>
              <a:rPr lang="en-US" dirty="0">
                <a:solidFill>
                  <a:prstClr val="white"/>
                </a:solidFill>
              </a:rPr>
              <a:t>stud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F8F014A-D755-415B-B125-D50EBE116FCB}"/>
              </a:ext>
            </a:extLst>
          </p:cNvPr>
          <p:cNvSpPr txBox="1"/>
          <p:nvPr/>
        </p:nvSpPr>
        <p:spPr>
          <a:xfrm>
            <a:off x="4743876" y="5221247"/>
            <a:ext cx="17876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i="1" dirty="0"/>
              <a:t>* statistically significant</a:t>
            </a:r>
          </a:p>
        </p:txBody>
      </p:sp>
    </p:spTree>
    <p:extLst>
      <p:ext uri="{BB962C8B-B14F-4D97-AF65-F5344CB8AC3E}">
        <p14:creationId xmlns:p14="http://schemas.microsoft.com/office/powerpoint/2010/main" val="3946528146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f8LfbTL.yLDzUPrFM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EXjVKSnGFE4.MFNry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4T3gvTeiZ2sUtwAY0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7i2zBSLWYTB0oYdur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BaQn7BSzaESTl6794X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c52yTVSgGvfzEUf7FL0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tvE2_sRd2byOcHIPS7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H_790YQA6xYZVro5lQ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vY6LIgRGqwv_lyGkQB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RvjJHFRtOpb9fYtxyI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qVxtGfT4ac1K8Ow0cl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Y96wtkQhOjaQPmoc3D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EXjVKSnGFE4.MFNry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SQmRKFRnG2Eji.FAuPv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EXjVKSnGFE4.MFNry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7i2zBSLWYTB0oYdur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FvXXJ01EezWj0Fg0rJe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hzox3RceBfXhdmnN4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59I4eeSxmEzof9aVSS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SQmRKFRnG2Eji.FAuP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heme/theme1.xml><?xml version="1.0" encoding="utf-8"?>
<a:theme xmlns:a="http://schemas.openxmlformats.org/drawingml/2006/main" name="NB 16:9 Template ">
  <a:themeElements>
    <a:clrScheme name="NB PPT Template 2019">
      <a:dk1>
        <a:sysClr val="windowText" lastClr="000000"/>
      </a:dk1>
      <a:lt1>
        <a:sysClr val="window" lastClr="FFFFFF"/>
      </a:lt1>
      <a:dk2>
        <a:srgbClr val="30302F"/>
      </a:dk2>
      <a:lt2>
        <a:srgbClr val="D0D0CE"/>
      </a:lt2>
      <a:accent1>
        <a:srgbClr val="CC0000"/>
      </a:accent1>
      <a:accent2>
        <a:srgbClr val="B1B3B3"/>
      </a:accent2>
      <a:accent3>
        <a:srgbClr val="888B8D"/>
      </a:accent3>
      <a:accent4>
        <a:srgbClr val="30302F"/>
      </a:accent4>
      <a:accent5>
        <a:srgbClr val="D1D3D4"/>
      </a:accent5>
      <a:accent6>
        <a:srgbClr val="8A8D8F"/>
      </a:accent6>
      <a:hlink>
        <a:srgbClr val="CC0000"/>
      </a:hlink>
      <a:folHlink>
        <a:srgbClr val="8A8D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2.xml><?xml version="1.0" encoding="utf-8"?>
<a:theme xmlns:a="http://schemas.openxmlformats.org/drawingml/2006/main" name="NB 16:9 Template - Titel and Chapter Slides">
  <a:themeElements>
    <a:clrScheme name="NB PPT Template 2019">
      <a:dk1>
        <a:sysClr val="windowText" lastClr="000000"/>
      </a:dk1>
      <a:lt1>
        <a:sysClr val="window" lastClr="FFFFFF"/>
      </a:lt1>
      <a:dk2>
        <a:srgbClr val="30302F"/>
      </a:dk2>
      <a:lt2>
        <a:srgbClr val="D0D0CE"/>
      </a:lt2>
      <a:accent1>
        <a:srgbClr val="CC0000"/>
      </a:accent1>
      <a:accent2>
        <a:srgbClr val="B1B3B3"/>
      </a:accent2>
      <a:accent3>
        <a:srgbClr val="888B8D"/>
      </a:accent3>
      <a:accent4>
        <a:srgbClr val="30302F"/>
      </a:accent4>
      <a:accent5>
        <a:srgbClr val="D1D3D4"/>
      </a:accent5>
      <a:accent6>
        <a:srgbClr val="8A8D8F"/>
      </a:accent6>
      <a:hlink>
        <a:srgbClr val="CC0000"/>
      </a:hlink>
      <a:folHlink>
        <a:srgbClr val="8A8D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3.xml><?xml version="1.0" encoding="utf-8"?>
<a:theme xmlns:a="http://schemas.openxmlformats.org/drawingml/2006/main" name="_NB_template_16x9_2014">
  <a:themeElements>
    <a:clrScheme name="Anpassad 11">
      <a:dk1>
        <a:srgbClr val="000000"/>
      </a:dk1>
      <a:lt1>
        <a:srgbClr val="FFFFFF"/>
      </a:lt1>
      <a:dk2>
        <a:srgbClr val="6E6E6E"/>
      </a:dk2>
      <a:lt2>
        <a:srgbClr val="C6C6C6"/>
      </a:lt2>
      <a:accent1>
        <a:srgbClr val="CC0000"/>
      </a:accent1>
      <a:accent2>
        <a:srgbClr val="D16B81"/>
      </a:accent2>
      <a:accent3>
        <a:srgbClr val="7F0048"/>
      </a:accent3>
      <a:accent4>
        <a:srgbClr val="34708A"/>
      </a:accent4>
      <a:accent5>
        <a:srgbClr val="87B1C1"/>
      </a:accent5>
      <a:accent6>
        <a:srgbClr val="878787"/>
      </a:accent6>
      <a:hlink>
        <a:srgbClr val="819DA7"/>
      </a:hlink>
      <a:folHlink>
        <a:srgbClr val="C2D3DB"/>
      </a:folHlink>
    </a:clrScheme>
    <a:fontScheme name="nb_presentation_brown">
      <a:majorFont>
        <a:latin typeface="Arial"/>
        <a:ea typeface="Geneva"/>
        <a:cs typeface="Arial"/>
      </a:majorFont>
      <a:minorFont>
        <a:latin typeface="Arial"/>
        <a:ea typeface="Geneva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95000"/>
          </a:schemeClr>
        </a:solidFill>
        <a:ln>
          <a:noFill/>
        </a:ln>
        <a:effectLst/>
      </a:spPr>
      <a:bodyPr lIns="43200" tIns="43200" rIns="18000" bIns="18000" rtlCol="0" anchor="t" anchorCtr="0"/>
      <a:lstStyle>
        <a:defPPr>
          <a:lnSpc>
            <a:spcPct val="105000"/>
          </a:lnSpc>
          <a:defRPr sz="160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auto">
        <a:noFill/>
        <a:ln>
          <a:noFill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>
          <a:defRPr/>
        </a:defPPr>
      </a:lstStyle>
    </a:txDef>
  </a:objectDefaults>
  <a:extraClrSchemeLst>
    <a:extraClrScheme>
      <a:clrScheme name="nb_presentation_brown 1">
        <a:dk1>
          <a:srgbClr val="000000"/>
        </a:dk1>
        <a:lt1>
          <a:srgbClr val="FFFFFF"/>
        </a:lt1>
        <a:dk2>
          <a:srgbClr val="505050"/>
        </a:dk2>
        <a:lt2>
          <a:srgbClr val="8BA9B4"/>
        </a:lt2>
        <a:accent1>
          <a:srgbClr val="CC0000"/>
        </a:accent1>
        <a:accent2>
          <a:srgbClr val="D6B89E"/>
        </a:accent2>
        <a:accent3>
          <a:srgbClr val="FFFFFF"/>
        </a:accent3>
        <a:accent4>
          <a:srgbClr val="000000"/>
        </a:accent4>
        <a:accent5>
          <a:srgbClr val="E2AAAA"/>
        </a:accent5>
        <a:accent6>
          <a:srgbClr val="C2A68F"/>
        </a:accent6>
        <a:hlink>
          <a:srgbClr val="AC8A7B"/>
        </a:hlink>
        <a:folHlink>
          <a:srgbClr val="C2D3D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">
  <a:themeElements>
    <a:clrScheme name="NBS 2019">
      <a:dk1>
        <a:sysClr val="windowText" lastClr="000000"/>
      </a:dk1>
      <a:lt1>
        <a:sysClr val="window" lastClr="FFFFFF"/>
      </a:lt1>
      <a:dk2>
        <a:srgbClr val="30302F"/>
      </a:dk2>
      <a:lt2>
        <a:srgbClr val="D1D3D4"/>
      </a:lt2>
      <a:accent1>
        <a:srgbClr val="CC0000"/>
      </a:accent1>
      <a:accent2>
        <a:srgbClr val="B1B3B3"/>
      </a:accent2>
      <a:accent3>
        <a:srgbClr val="A5A5A5"/>
      </a:accent3>
      <a:accent4>
        <a:srgbClr val="D1D3D4"/>
      </a:accent4>
      <a:accent5>
        <a:srgbClr val="30302F"/>
      </a:accent5>
      <a:accent6>
        <a:srgbClr val="CC0000"/>
      </a:accent6>
      <a:hlink>
        <a:srgbClr val="CC0000"/>
      </a:hlink>
      <a:folHlink>
        <a:srgbClr val="3F3F3F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2198">
      <a:srgbClr val="4AC9E3"/>
    </a:custClr>
    <a:custClr name="PMS 3375">
      <a:srgbClr val="7AE1BF"/>
    </a:custClr>
    <a:custClr name="PMS 2005">
      <a:srgbClr val="FED880"/>
    </a:custClr>
    <a:custClr name="PMS 170">
      <a:srgbClr val="FF8674"/>
    </a:custClr>
    <a:custClr name="PMS 1785">
      <a:srgbClr val="F8485E"/>
    </a:custClr>
    <a:custClr name="PMS 255">
      <a:srgbClr val="72246C"/>
    </a:custClr>
    <a:custClr name="PMS 2617">
      <a:srgbClr val="470A68"/>
    </a:custClr>
    <a:custClr name="PMS 2747">
      <a:srgbClr val="001A72"/>
    </a:custClr>
    <a:custClr name="PMS 0">
      <a:srgbClr val="FFFFFF"/>
    </a:custClr>
    <a:custClr name="PMS 0">
      <a:srgbClr val="FFFFFF"/>
    </a:custClr>
    <a:custClr name="PMS 318">
      <a:srgbClr val="88DBDF"/>
    </a:custClr>
    <a:custClr name="PMS 573">
      <a:srgbClr val="B5E3D8"/>
    </a:custClr>
    <a:custClr name="PMS 7401">
      <a:srgbClr val="F5E1A4"/>
    </a:custClr>
    <a:custClr name="PMS 1625">
      <a:srgbClr val="FFA38B"/>
    </a:custClr>
    <a:custClr name="PMS 3572">
      <a:srgbClr val="FE9B96"/>
    </a:custClr>
    <a:custClr name="PMS 2064">
      <a:srgbClr val="E0A2D4"/>
    </a:custClr>
    <a:custClr name="PMS 270">
      <a:srgbClr val="B4B5DF"/>
    </a:custClr>
    <a:custClr name="PMS 658">
      <a:srgbClr val="B1C9E8"/>
    </a:custClr>
    <a:custClr name="PMS 0">
      <a:srgbClr val="FFFFFF"/>
    </a:custClr>
    <a:custClr name="PMS 0">
      <a:srgbClr val="FFFFFF"/>
    </a:custClr>
  </a:custClr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igrationWizIdPermissionLevels xmlns="ed5bd590-015d-438f-bafa-565b6e4c2011" xsi:nil="true"/>
    <MigrationWizIdDocumentLibraryPermissions xmlns="ed5bd590-015d-438f-bafa-565b6e4c2011" xsi:nil="true"/>
    <MigrationWizId xmlns="ed5bd590-015d-438f-bafa-565b6e4c2011" xsi:nil="true"/>
    <MigrationWizIdPermissions xmlns="ed5bd590-015d-438f-bafa-565b6e4c2011" xsi:nil="true"/>
    <MigrationWizIdSecurityGroups xmlns="ed5bd590-015d-438f-bafa-565b6e4c201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FDD2C0C622BD42B0A4633DBD2A615A" ma:contentTypeVersion="18" ma:contentTypeDescription="Create a new document." ma:contentTypeScope="" ma:versionID="ba9da4e9057f344c19937fb369b9454a">
  <xsd:schema xmlns:xsd="http://www.w3.org/2001/XMLSchema" xmlns:xs="http://www.w3.org/2001/XMLSchema" xmlns:p="http://schemas.microsoft.com/office/2006/metadata/properties" xmlns:ns3="ed5bd590-015d-438f-bafa-565b6e4c2011" xmlns:ns4="aeec8a57-b0e6-4dfb-b5ea-a5f4d6fada32" targetNamespace="http://schemas.microsoft.com/office/2006/metadata/properties" ma:root="true" ma:fieldsID="385d94bb48bd60740d650900a706b4d0" ns3:_="" ns4:_="">
    <xsd:import namespace="ed5bd590-015d-438f-bafa-565b6e4c2011"/>
    <xsd:import namespace="aeec8a57-b0e6-4dfb-b5ea-a5f4d6fada32"/>
    <xsd:element name="properties">
      <xsd:complexType>
        <xsd:sequence>
          <xsd:element name="documentManagement">
            <xsd:complexType>
              <xsd:all>
                <xsd:element ref="ns3:MigrationWizId" minOccurs="0"/>
                <xsd:element ref="ns3:MigrationWizIdPermissions" minOccurs="0"/>
                <xsd:element ref="ns3:MigrationWizIdPermissionLevels" minOccurs="0"/>
                <xsd:element ref="ns3:MigrationWizIdDocumentLibraryPermissions" minOccurs="0"/>
                <xsd:element ref="ns3:MigrationWizIdSecurityGroup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bd590-015d-438f-bafa-565b6e4c2011" elementFormDefault="qualified">
    <xsd:import namespace="http://schemas.microsoft.com/office/2006/documentManagement/types"/>
    <xsd:import namespace="http://schemas.microsoft.com/office/infopath/2007/PartnerControls"/>
    <xsd:element name="MigrationWizId" ma:index="8" nillable="true" ma:displayName="MigrationWizId" ma:internalName="MigrationWizId">
      <xsd:simpleType>
        <xsd:restriction base="dms:Text"/>
      </xsd:simpleType>
    </xsd:element>
    <xsd:element name="MigrationWizIdPermissions" ma:index="9" nillable="true" ma:displayName="MigrationWizIdPermissions" ma:internalName="MigrationWizIdPermissions">
      <xsd:simpleType>
        <xsd:restriction base="dms:Text"/>
      </xsd:simpleType>
    </xsd:element>
    <xsd:element name="MigrationWizIdPermissionLevels" ma:index="10" nillable="true" ma:displayName="MigrationWizIdPermissionLevels" ma:internalName="MigrationWizIdPermissionLevels">
      <xsd:simpleType>
        <xsd:restriction base="dms:Text"/>
      </xsd:simpleType>
    </xsd:element>
    <xsd:element name="MigrationWizIdDocumentLibraryPermissions" ma:index="11" nillable="true" ma:displayName="MigrationWizIdDocumentLibraryPermissions" ma:internalName="MigrationWizIdDocumentLibraryPermissions">
      <xsd:simpleType>
        <xsd:restriction base="dms:Text"/>
      </xsd:simpleType>
    </xsd:element>
    <xsd:element name="MigrationWizIdSecurityGroups" ma:index="12" nillable="true" ma:displayName="MigrationWizIdSecurityGroups" ma:internalName="MigrationWizIdSecurityGroups">
      <xsd:simpleType>
        <xsd:restriction base="dms:Text"/>
      </xsd:simpleType>
    </xsd:element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5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ec8a57-b0e6-4dfb-b5ea-a5f4d6fada32" elementFormDefault="qualified">
    <xsd:import namespace="http://schemas.microsoft.com/office/2006/documentManagement/types"/>
    <xsd:import namespace="http://schemas.microsoft.com/office/infopath/2007/PartnerControls"/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269D6AB-7CD3-4C48-BA4A-8CF305D76760}">
  <ds:schemaRefs>
    <ds:schemaRef ds:uri="http://schemas.microsoft.com/office/2006/metadata/properties"/>
    <ds:schemaRef ds:uri="http://schemas.microsoft.com/office/infopath/2007/PartnerControls"/>
    <ds:schemaRef ds:uri="ed5bd590-015d-438f-bafa-565b6e4c2011"/>
  </ds:schemaRefs>
</ds:datastoreItem>
</file>

<file path=customXml/itemProps2.xml><?xml version="1.0" encoding="utf-8"?>
<ds:datastoreItem xmlns:ds="http://schemas.openxmlformats.org/officeDocument/2006/customXml" ds:itemID="{A01C7114-632C-4152-8882-CBB7869E5B0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884B69A-B838-4BD8-B6F1-A924962034E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d5bd590-015d-438f-bafa-565b6e4c2011"/>
    <ds:schemaRef ds:uri="aeec8a57-b0e6-4dfb-b5ea-a5f4d6fada3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BS_PowerPoint_Template_16-9_18102_2</Template>
  <TotalTime>0</TotalTime>
  <Words>2163</Words>
  <Application>Microsoft Office PowerPoint</Application>
  <PresentationFormat>Widescreen</PresentationFormat>
  <Paragraphs>283</Paragraphs>
  <Slides>2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dvTTa9c1b374</vt:lpstr>
      <vt:lpstr>Arial</vt:lpstr>
      <vt:lpstr>Calibri</vt:lpstr>
      <vt:lpstr>Mark Pro Medium</vt:lpstr>
      <vt:lpstr>Symbol</vt:lpstr>
      <vt:lpstr>NB 16:9 Template </vt:lpstr>
      <vt:lpstr>NB 16:9 Template - Titel and Chapter Slides</vt:lpstr>
      <vt:lpstr>_NB_template_16x9_2014</vt:lpstr>
      <vt:lpstr>think-cell Slide</vt:lpstr>
      <vt:lpstr>think-cell Folie</vt:lpstr>
      <vt:lpstr>Regenerative solutions </vt:lpstr>
      <vt:lpstr>creos™ biomaterials  A comprehensive portfolio for soft tissue &amp; bone regeneration </vt:lpstr>
      <vt:lpstr>PowerPoint Presentation</vt:lpstr>
      <vt:lpstr>Einfache Handhabu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re scientific evidence is to be found in  the following publica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ore scientific evidence is to be found in  the following publication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adja Schäffer</dc:creator>
  <cp:lastModifiedBy>Milleret, Vincent</cp:lastModifiedBy>
  <cp:revision>9</cp:revision>
  <dcterms:created xsi:type="dcterms:W3CDTF">2018-10-26T08:26:03Z</dcterms:created>
  <dcterms:modified xsi:type="dcterms:W3CDTF">2020-05-26T08:2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FDD2C0C622BD42B0A4633DBD2A615A</vt:lpwstr>
  </property>
</Properties>
</file>